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7"/>
    <p:sldMasterId id="2147483691" r:id="rId8"/>
    <p:sldMasterId id="2147483712" r:id="rId9"/>
  </p:sldMasterIdLst>
  <p:notesMasterIdLst>
    <p:notesMasterId r:id="rId33"/>
  </p:notesMasterIdLst>
  <p:sldIdLst>
    <p:sldId id="638" r:id="rId10"/>
    <p:sldId id="2147471269" r:id="rId11"/>
    <p:sldId id="2147479082" r:id="rId12"/>
    <p:sldId id="2147479071" r:id="rId13"/>
    <p:sldId id="2147479083" r:id="rId14"/>
    <p:sldId id="2147479086" r:id="rId15"/>
    <p:sldId id="2147479087" r:id="rId16"/>
    <p:sldId id="2147479095" r:id="rId17"/>
    <p:sldId id="2147479084" r:id="rId18"/>
    <p:sldId id="2147479085" r:id="rId19"/>
    <p:sldId id="2147479088" r:id="rId20"/>
    <p:sldId id="2147479089" r:id="rId21"/>
    <p:sldId id="2147479090" r:id="rId22"/>
    <p:sldId id="2147479091" r:id="rId23"/>
    <p:sldId id="2147479094" r:id="rId24"/>
    <p:sldId id="2147479099" r:id="rId25"/>
    <p:sldId id="2147479097" r:id="rId26"/>
    <p:sldId id="2147479098" r:id="rId27"/>
    <p:sldId id="2147479093" r:id="rId28"/>
    <p:sldId id="2147470863" r:id="rId29"/>
    <p:sldId id="2147470864" r:id="rId30"/>
    <p:sldId id="2147479096" r:id="rId31"/>
    <p:sldId id="278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835FA3A-DD0C-4E44-8C5E-385D43FDC1B4}">
          <p14:sldIdLst>
            <p14:sldId id="638"/>
            <p14:sldId id="2147471269"/>
            <p14:sldId id="2147479082"/>
            <p14:sldId id="2147479071"/>
            <p14:sldId id="2147479083"/>
            <p14:sldId id="2147479086"/>
            <p14:sldId id="2147479087"/>
            <p14:sldId id="2147479095"/>
            <p14:sldId id="2147479084"/>
            <p14:sldId id="2147479085"/>
            <p14:sldId id="2147479088"/>
            <p14:sldId id="2147479089"/>
            <p14:sldId id="2147479090"/>
            <p14:sldId id="2147479091"/>
            <p14:sldId id="2147479094"/>
            <p14:sldId id="2147479099"/>
            <p14:sldId id="2147479097"/>
            <p14:sldId id="2147479098"/>
            <p14:sldId id="2147479093"/>
            <p14:sldId id="2147470863"/>
            <p14:sldId id="2147470864"/>
            <p14:sldId id="2147479096"/>
          </p14:sldIdLst>
        </p14:section>
        <p14:section name="Untitled Section" id="{32D52609-C327-B843-BBF3-6F19175DBEDC}">
          <p14:sldIdLst>
            <p14:sldId id="27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6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EEF"/>
    <a:srgbClr val="F0F0F0"/>
    <a:srgbClr val="D4D7D9"/>
    <a:srgbClr val="D1D3D4"/>
    <a:srgbClr val="374EA2"/>
    <a:srgbClr val="F26A21"/>
    <a:srgbClr val="FFC20E"/>
    <a:srgbClr val="80BD41"/>
    <a:srgbClr val="00833E"/>
    <a:srgbClr val="7777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FD0F851-EC5A-4D38-B0AD-8093EC10F338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1" d="100"/>
          <a:sy n="61" d="100"/>
        </p:scale>
        <p:origin x="860" y="76"/>
      </p:cViewPr>
      <p:guideLst>
        <p:guide orient="horz" pos="2160"/>
        <p:guide pos="386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21" Type="http://schemas.openxmlformats.org/officeDocument/2006/relationships/slide" Target="slides/slide12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3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viewProps" Target="viewProps.xml"/><Relationship Id="rId8" Type="http://schemas.openxmlformats.org/officeDocument/2006/relationships/slideMaster" Target="slideMasters/slideMaster2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4AE705-8A04-4840-89A1-481E150D6A10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57A55F-4C5B-E248-9EC8-471E991E4A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5722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57A55F-4C5B-E248-9EC8-471E991E4A8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49578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797A29-2721-DC48-8CDA-24DEB27FD82D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695174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797A29-2721-DC48-8CDA-24DEB27FD82D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335095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797A29-2721-DC48-8CDA-24DEB27FD82D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375300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797A29-2721-DC48-8CDA-24DEB27FD82D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629821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797A29-2721-DC48-8CDA-24DEB27FD82D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04910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797A29-2721-DC48-8CDA-24DEB27FD82D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872578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797A29-2721-DC48-8CDA-24DEB27FD82D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311611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Text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C1E691-7E85-46AA-8986-837F5C29F7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082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o address the imperative to plug growing immunity gaps, the “Big Catch-Up” initiative was launched in 2023. The three-pronged approach includes efforts to immunize those missed during the pandemic years, some of whom are now 5 years old; recovery of </a:t>
            </a:r>
            <a:r>
              <a:rPr lang="en-US" err="1"/>
              <a:t>programme</a:t>
            </a:r>
            <a:r>
              <a:rPr lang="en-US"/>
              <a:t> performance to reach the new birth cohort at least as well as before the pandemic; and, crucially, to rapidly improve </a:t>
            </a:r>
            <a:r>
              <a:rPr lang="en-US" err="1"/>
              <a:t>programme</a:t>
            </a:r>
            <a:r>
              <a:rPr lang="en-US"/>
              <a:t> reach to resume the trajectory towards 2030 goals. </a:t>
            </a:r>
            <a:endParaRPr lang="fr-FR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257A55F-4C5B-E248-9EC8-471E991E4A8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66227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797A29-2721-DC48-8CDA-24DEB27FD82D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15603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797A29-2721-DC48-8CDA-24DEB27FD82D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946528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797A29-2721-DC48-8CDA-24DEB27FD82D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93918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797A29-2721-DC48-8CDA-24DEB27FD82D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807213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797A29-2721-DC48-8CDA-24DEB27FD82D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364469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797A29-2721-DC48-8CDA-24DEB27FD82D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918978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 diapositiv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797A29-2721-DC48-8CDA-24DEB27FD82D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5609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07D628-6124-2644-9003-DD60044450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63D490-6B91-9B40-93B6-D7052D24B4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170F12-22B9-294A-ACED-C6692B05A5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7B745-DF8B-0242-92E7-F0980AB518CD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52178A-0A86-6F4F-81F1-10BEFF720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9E43B7-AFD2-084A-9FE3-3A0E37085E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7454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C8EBB9-1EBC-A843-92DC-A11891628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AC682F-70A4-6145-B6EA-112C483E14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F78C9C-A6C8-0446-8CE8-0C25F89D5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7B745-DF8B-0242-92E7-F0980AB518CD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611B79-CB7A-EE4C-B854-2361FAD727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E4011A-4F33-C448-9F4E-761564DE09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83104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F45B7B8-0D28-4948-8C5F-22B51BAB98C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A06234-D908-D943-8188-D68D7F3EAF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826481-D06C-C042-8066-E768EC73CA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7B745-DF8B-0242-92E7-F0980AB518CD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1EBB75-4DB9-0F41-AB63-1275877FDD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38D92B-3F31-8C44-8E7B-3E219027EF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2104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NICEF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2084D1F1-25D7-1445-AC17-82787DDD157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 algn="ctr">
              <a:buNone/>
              <a:defRPr i="1">
                <a:solidFill>
                  <a:srgbClr val="D4D7D9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PHOTO HERE</a:t>
            </a:r>
          </a:p>
        </p:txBody>
      </p:sp>
    </p:spTree>
    <p:extLst>
      <p:ext uri="{BB962C8B-B14F-4D97-AF65-F5344CB8AC3E}">
        <p14:creationId xmlns:p14="http://schemas.microsoft.com/office/powerpoint/2010/main" val="28091929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F602E-78DA-F71B-D69D-0BFAA7E0DE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FAF066C-999E-7F28-9DEF-A2DF302266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978BC7-DB6E-4008-97BE-9FCB5361A565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670D81-B397-55FC-E9E2-04F4105127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31524A-E7A9-A93E-3144-5432622804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FB1D44-3BF5-4680-A1C5-06B1EE67071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89415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ADC478-EB57-0E17-3506-7279422331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CC66DF-3713-384F-EBC0-3172E853C3D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F83CBE-3B90-91F3-2D26-042964E5B2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860D-44EB-4533-8D28-D98A4838226B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BD3455-564D-4C76-A104-5125157F94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AF1929-E7A4-E2D3-E2B8-6221515C83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7A453-ACAA-4049-BD23-039590BFC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880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7545C2-49DB-F434-77E4-273D4A0775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5D5A8A-5477-C6D2-8224-740AC9C3EE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6DA5B2-C7A6-D0C2-D8AC-43355620EF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860D-44EB-4533-8D28-D98A4838226B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6F920E-8D3E-9E07-6E93-4617311EED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561DA3-AC69-AD5F-8561-16BB1EFF4F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7A453-ACAA-4049-BD23-039590BFC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59646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D48AEC-450B-12BB-9A5A-FFF78F0A20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BE0A76-B63E-E208-972C-9C8A07DDC7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F7522F-326E-24B8-0878-40A1BFF72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860D-44EB-4533-8D28-D98A4838226B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D2629F-971A-6542-12C8-7BE78BE97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7D0CB2-BDFB-D35B-3641-7820263305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7A453-ACAA-4049-BD23-039590BFC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0931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690C28-3EA0-F2F2-1CDA-7EC1754A3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95DDE8-753C-8F48-7995-93606323E5B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CDB2590-11B6-43F3-4DCC-F3C7733D7E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27BCF89-F3A4-A7B7-302A-CA583FEA6E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860D-44EB-4533-8D28-D98A4838226B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A5D29E-294D-C59F-A6A5-6F470E966D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128D75A-00EB-B83E-A8C0-AFB60DEC8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7A453-ACAA-4049-BD23-039590BFC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94236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6372EA-BADE-C535-F4F4-1A32D7B1D0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E4A430-CF95-36A7-D4C7-37FEE60F351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D0E35F9-7D73-5AF9-C086-9085BE9304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CD3062-FAE1-3462-B908-97593E5DAE9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A75EE2B-2690-3515-93D6-A5BF299BA93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61A5B4C-ADB4-EDB8-D98F-CC4F4BD24E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860D-44EB-4533-8D28-D98A4838226B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41C5A00-A7C4-4FC8-FF0A-2A0249012C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D1B0B4C-4483-293F-8123-11AC258D3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7A453-ACAA-4049-BD23-039590BFC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3694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CA114C-2AF1-1F70-5D2B-93CF927982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D2A508-6784-9F6D-C627-14C7049AD9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860D-44EB-4533-8D28-D98A4838226B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3FA21B-ECF4-3B64-8277-C305419A56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CF2D8D-76DA-742A-1E4E-58AA4E1AB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7A453-ACAA-4049-BD23-039590BFC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43576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8B3F31-B936-6040-84F5-4981DFE380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79735D-4037-6B41-AEEA-4188A59508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F7704F-73F5-4542-8B69-2B5C6EB044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7B745-DF8B-0242-92E7-F0980AB518CD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0A8280-11ED-C248-BB95-4C09DD47D0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87FD09-12BF-0446-BC73-68CE403C9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9431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C3909DF-C1E6-7410-01E7-4D9CEC36B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860D-44EB-4533-8D28-D98A4838226B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94446F5-3517-D0DB-8412-EF6405586A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114757-CADF-CE8F-048B-476C6A07DB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7A453-ACAA-4049-BD23-039590BFC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9272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2E74E9-A732-04BE-720C-8AFA9B0B4A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BAA756-F4BF-C5B2-EDAE-552F516C38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585113-DA0D-80FC-6433-DF196008B1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18F67C-2440-80A6-1819-96F72184DC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860D-44EB-4533-8D28-D98A4838226B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9CD7E7-E3E7-208E-FBCF-5595907B5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D6618A-4FDB-0076-0CDA-0C331CA23F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7A453-ACAA-4049-BD23-039590BFC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58302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8386E4-E664-23C6-AB83-0EB6D9DD4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713DE1E-A19C-FEA5-B485-26330A6B95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23A55A5-D0FC-3CF3-BFC6-907D33E4407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92BE09A-AEAD-40E1-9071-74D2674409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860D-44EB-4533-8D28-D98A4838226B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AED8E9-6230-E8CE-9792-0E655FA566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F01012-4519-0ED7-1EFB-39FDD254B9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7A453-ACAA-4049-BD23-039590BFC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01554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D7DC28-4729-CA74-DD8B-21CEFE1A8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35AF11A-3140-6499-5BAF-936F5B8C33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BD926C-D3CE-2C06-F423-13A8D27A32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860D-44EB-4533-8D28-D98A4838226B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CBDA49-5B27-D240-A33E-1A7094D13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9C4F30-3DE1-2E4A-525E-FAA8E63D0C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7A453-ACAA-4049-BD23-039590BFC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46779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1AD001F-5410-400F-4617-B43DF86CA41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24C1434-2843-1BDB-5CB5-DBA7992276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C3260C-803A-E43D-6467-C7DD9EA294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860D-44EB-4533-8D28-D98A4838226B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186EA2-5F79-C7B9-C36D-434B9F8B2F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0AF4C3-CDD5-96E5-5CB3-77EF24B5B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C7A453-ACAA-4049-BD23-039590BFC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0342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4F929E-2F1D-4406-9057-6C82519393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mmunization, Vaccines and Biologic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A9C806-229B-4A8D-AFA7-03EDD985E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E31AFC-DF42-41A5-B57C-06A83BBA6616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26A3070-CE06-4CEE-A226-D97212C3B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639" y="537198"/>
            <a:ext cx="11282640" cy="403133"/>
          </a:xfrm>
        </p:spPr>
        <p:txBody>
          <a:bodyPr lIns="0" tIns="0" rIns="0" bIns="0" anchor="t" anchorCtr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object 14">
            <a:extLst>
              <a:ext uri="{FF2B5EF4-FFF2-40B4-BE49-F238E27FC236}">
                <a16:creationId xmlns:a16="http://schemas.microsoft.com/office/drawing/2014/main" id="{C887375E-F637-44FE-AF63-8A8B04BD6ACA}"/>
              </a:ext>
            </a:extLst>
          </p:cNvPr>
          <p:cNvSpPr/>
          <p:nvPr userDrawn="1"/>
        </p:nvSpPr>
        <p:spPr>
          <a:xfrm>
            <a:off x="577850" y="6397939"/>
            <a:ext cx="11042887" cy="0"/>
          </a:xfrm>
          <a:custGeom>
            <a:avLst/>
            <a:gdLst/>
            <a:ahLst/>
            <a:cxnLst/>
            <a:rect l="l" t="t" r="r" b="b"/>
            <a:pathLst>
              <a:path w="18209260">
                <a:moveTo>
                  <a:pt x="0" y="0"/>
                </a:moveTo>
                <a:lnTo>
                  <a:pt x="18208869" y="0"/>
                </a:lnTo>
              </a:path>
            </a:pathLst>
          </a:custGeom>
          <a:ln w="9622">
            <a:solidFill>
              <a:schemeClr val="tx1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</p:spTree>
    <p:extLst>
      <p:ext uri="{BB962C8B-B14F-4D97-AF65-F5344CB8AC3E}">
        <p14:creationId xmlns:p14="http://schemas.microsoft.com/office/powerpoint/2010/main" val="29604425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492600" y="0"/>
            <a:ext cx="7699401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9237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NICEF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4D33F75-791A-8643-BA87-4DAF53721B3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Photo here</a:t>
            </a:r>
          </a:p>
        </p:txBody>
      </p:sp>
    </p:spTree>
    <p:extLst>
      <p:ext uri="{BB962C8B-B14F-4D97-AF65-F5344CB8AC3E}">
        <p14:creationId xmlns:p14="http://schemas.microsoft.com/office/powerpoint/2010/main" val="31520900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609600" y="1603635"/>
            <a:ext cx="10972800" cy="4559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1DA2E98-3A23-B803-3F82-985CCE3D44F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4233" y="6324417"/>
            <a:ext cx="2242210" cy="3970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Google Shape;20;p3">
            <a:extLst>
              <a:ext uri="{FF2B5EF4-FFF2-40B4-BE49-F238E27FC236}">
                <a16:creationId xmlns:a16="http://schemas.microsoft.com/office/drawing/2014/main" id="{11A246D1-D2B2-CF4F-44CA-2E95664281F8}"/>
              </a:ext>
            </a:extLst>
          </p:cNvPr>
          <p:cNvSpPr txBox="1">
            <a:spLocks noGrp="1"/>
          </p:cNvSpPr>
          <p:nvPr>
            <p:ph type="sldNum" idx="14"/>
          </p:nvPr>
        </p:nvSpPr>
        <p:spPr>
          <a:xfrm>
            <a:off x="11397105" y="6356352"/>
            <a:ext cx="527383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00" b="0" i="0" u="none" strike="noStrike" cap="none">
                <a:solidFill>
                  <a:srgbClr val="8A91A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00" b="0" i="0" u="none" strike="noStrike" cap="none">
                <a:solidFill>
                  <a:srgbClr val="8A91A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00" b="0" i="0" u="none" strike="noStrike" cap="none">
                <a:solidFill>
                  <a:srgbClr val="8A91A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00" b="0" i="0" u="none" strike="noStrike" cap="none">
                <a:solidFill>
                  <a:srgbClr val="8A91A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00" b="0" i="0" u="none" strike="noStrike" cap="none">
                <a:solidFill>
                  <a:srgbClr val="8A91A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00" b="0" i="0" u="none" strike="noStrike" cap="none">
                <a:solidFill>
                  <a:srgbClr val="8A91A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00" b="0" i="0" u="none" strike="noStrike" cap="none">
                <a:solidFill>
                  <a:srgbClr val="8A91A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00" b="0" i="0" u="none" strike="noStrike" cap="none">
                <a:solidFill>
                  <a:srgbClr val="8A91A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900" b="0" i="0" u="none" strike="noStrike" cap="none">
                <a:solidFill>
                  <a:srgbClr val="8A91A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4514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07D628-6124-2644-9003-DD60044450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63D490-6B91-9B40-93B6-D7052D24B4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170F12-22B9-294A-ACED-C6692B05A5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52178A-0A86-6F4F-81F1-10BEFF7205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9E43B7-AFD2-084A-9FE3-3A0E37085E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03936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899920-A82B-A747-94CC-C566947108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09C267-18EC-7348-9E53-162AECE295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F82D47-8DD0-9749-AE7F-F78675B7E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7B745-DF8B-0242-92E7-F0980AB518CD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DC3ED1-66C3-F641-A83F-53F8F92E86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A8B1FB-3FDB-434F-97EF-F2193F7DC8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4544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8B3F31-B936-6040-84F5-4981DFE380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79735D-4037-6B41-AEEA-4188A59508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F7704F-73F5-4542-8B69-2B5C6EB044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0A8280-11ED-C248-BB95-4C09DD47D0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87FD09-12BF-0446-BC73-68CE403C9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63116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899920-A82B-A747-94CC-C566947108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09C267-18EC-7348-9E53-162AECE295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F82D47-8DD0-9749-AE7F-F78675B7E3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DC3ED1-66C3-F641-A83F-53F8F92E86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A8B1FB-3FDB-434F-97EF-F2193F7DC8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1834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751B27-F6FF-5145-A6F7-250145D83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6C22D2-DE54-3D49-AD9D-590C98B38B9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2A29FB-5194-F944-B216-A10B938644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40E2F98-F074-FE4F-B9AF-31026DF3CC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58D92DB-94CF-574C-AD06-814A62FCB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CC8FCB-0329-4042-B4B8-A87BC2F20E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2214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CD06E7-226F-5B42-980F-6E829A8A88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CE955A-67B2-AE41-91EC-BB06048626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D3F5DE-A460-EC48-B430-2303B5DF66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38184F-EA39-B340-8A97-6AF3C3A2A5C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66B354A-D771-B446-8A4F-8AEE7FC44C1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2803E13-9CC7-8248-B54B-8C8D2A2F57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0DCEDB4-E80F-6D48-BC70-4D6FE08F08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D728259-A89B-0A48-80EB-4A5A677E6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62808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2D7AA4-8527-CA4A-9556-ED5AD991BF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296265-E4EC-994F-B9C5-6967FDFA6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710E688-3679-4B44-97C3-3649853C07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BC71AD-904E-864A-952B-D00DAEBCF2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14377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65BB43-3BDD-6345-A88A-EBD8280FCB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B624E1-661D-E949-AF27-8D3B0BF8C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144AF7-7549-BD4F-AE35-94929A237E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95859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AE0E8D-1609-C04B-97CC-7F396A6714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BD726A-2033-DF44-A305-D3373F21E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045EAE-E5DA-AF46-8BEA-FA318BFDDE3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4EDA2A-2D64-074F-9C89-EC711B6A33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C25C44-DB81-104D-8FC5-A14920D9F1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9F1100-A173-6449-AE5F-FE172AB82E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5824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3E8F4-C8D9-884D-8C47-14E7A812C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EC1EE65-A0DD-4D45-A524-90BD7F487F5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094230-4975-5E4B-A3A0-73FBFC1B2D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D0042A-A447-7844-8902-E49A293D20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FFC29C-AB84-B747-956B-B2B78750F8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550B8A-8CA8-6D4E-8A18-E8775DE123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8715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C8EBB9-1EBC-A843-92DC-A11891628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AC682F-70A4-6145-B6EA-112C483E14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F78C9C-A6C8-0446-8CE8-0C25F89D5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611B79-CB7A-EE4C-B854-2361FAD727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E4011A-4F33-C448-9F4E-761564DE09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152647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F45B7B8-0D28-4948-8C5F-22B51BAB98C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CA06234-D908-D943-8188-D68D7F3EAF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826481-D06C-C042-8066-E768EC73CA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1EBB75-4DB9-0F41-AB63-1275877FDD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38D92B-3F31-8C44-8E7B-3E219027EF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37658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751B27-F6FF-5145-A6F7-250145D838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6C22D2-DE54-3D49-AD9D-590C98B38B9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2A29FB-5194-F944-B216-A10B938644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40E2F98-F074-FE4F-B9AF-31026DF3CC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7B745-DF8B-0242-92E7-F0980AB518CD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58D92DB-94CF-574C-AD06-814A62FCBF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CC8FCB-0329-4042-B4B8-A87BC2F20E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5037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NICEF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04D33F75-791A-8643-BA87-4DAF53721B3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2">
                    <a:lumMod val="20000"/>
                    <a:lumOff val="80000"/>
                  </a:schemeClr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Photo here</a:t>
            </a:r>
          </a:p>
        </p:txBody>
      </p:sp>
    </p:spTree>
    <p:extLst>
      <p:ext uri="{BB962C8B-B14F-4D97-AF65-F5344CB8AC3E}">
        <p14:creationId xmlns:p14="http://schemas.microsoft.com/office/powerpoint/2010/main" val="43015871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NICEF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1">
            <a:extLst>
              <a:ext uri="{FF2B5EF4-FFF2-40B4-BE49-F238E27FC236}">
                <a16:creationId xmlns:a16="http://schemas.microsoft.com/office/drawing/2014/main" id="{2084D1F1-25D7-1445-AC17-82787DDD157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 algn="ctr">
              <a:buNone/>
              <a:defRPr i="1">
                <a:solidFill>
                  <a:srgbClr val="D4D7D9"/>
                </a:solidFill>
              </a:defRPr>
            </a:lvl1pPr>
          </a:lstStyle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r>
              <a:rPr lang="en-US"/>
              <a:t>PHOTO HERE</a:t>
            </a:r>
          </a:p>
        </p:txBody>
      </p:sp>
    </p:spTree>
    <p:extLst>
      <p:ext uri="{BB962C8B-B14F-4D97-AF65-F5344CB8AC3E}">
        <p14:creationId xmlns:p14="http://schemas.microsoft.com/office/powerpoint/2010/main" val="21753838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492601" y="0"/>
            <a:ext cx="7699401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4176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4891317" y="587829"/>
            <a:ext cx="3164115" cy="2769325"/>
          </a:xfrm>
          <a:solidFill>
            <a:srgbClr val="00B0F0"/>
          </a:solidFill>
        </p:spPr>
        <p:txBody>
          <a:bodyPr/>
          <a:lstStyle>
            <a:lvl1pPr>
              <a:defRPr sz="1800" baseline="0">
                <a:latin typeface="Univers LT Std 55 Roman" charset="0"/>
              </a:defRPr>
            </a:lvl1pPr>
          </a:lstStyle>
          <a:p>
            <a:pPr marL="274306" marR="0" lvl="0" indent="-274306" algn="l" defTabSz="109722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icture</a:t>
            </a:r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8244117" y="587829"/>
            <a:ext cx="3164115" cy="2769325"/>
          </a:xfrm>
          <a:solidFill>
            <a:srgbClr val="00B0F0"/>
          </a:solidFill>
        </p:spPr>
        <p:txBody>
          <a:bodyPr/>
          <a:lstStyle>
            <a:lvl1pPr>
              <a:defRPr sz="1800" baseline="0">
                <a:latin typeface="Univers LT Std 55 Roman" charset="0"/>
              </a:defRPr>
            </a:lvl1pPr>
          </a:lstStyle>
          <a:p>
            <a:pPr marL="274306" marR="0" lvl="0" indent="-274306" algn="l" defTabSz="109722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ictur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8244117" y="3513910"/>
            <a:ext cx="3164115" cy="2769325"/>
          </a:xfrm>
          <a:solidFill>
            <a:srgbClr val="00B0F0"/>
          </a:solidFill>
        </p:spPr>
        <p:txBody>
          <a:bodyPr/>
          <a:lstStyle>
            <a:lvl1pPr>
              <a:defRPr sz="1800" baseline="0">
                <a:latin typeface="Univers LT Std 55 Roman" charset="0"/>
              </a:defRPr>
            </a:lvl1pPr>
          </a:lstStyle>
          <a:p>
            <a:pPr marL="274306" marR="0" lvl="0" indent="-274306" algn="l" defTabSz="109722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icture</a:t>
            </a:r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891317" y="3513910"/>
            <a:ext cx="3164115" cy="2769325"/>
          </a:xfrm>
          <a:solidFill>
            <a:srgbClr val="00B0F0"/>
          </a:solidFill>
        </p:spPr>
        <p:txBody>
          <a:bodyPr/>
          <a:lstStyle>
            <a:lvl1pPr>
              <a:defRPr sz="1800" baseline="0">
                <a:latin typeface="Univers LT Std 55 Roman" charset="0"/>
              </a:defRPr>
            </a:lvl1pPr>
          </a:lstStyle>
          <a:p>
            <a:pPr marL="274306" marR="0" lvl="0" indent="-274306" algn="l" defTabSz="109722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1789399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for ma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1"/>
          </p:nvPr>
        </p:nvSpPr>
        <p:spPr>
          <a:xfrm>
            <a:off x="647706" y="1901827"/>
            <a:ext cx="5295900" cy="3856039"/>
          </a:xfrm>
        </p:spPr>
        <p:txBody>
          <a:bodyPr/>
          <a:lstStyle/>
          <a:p>
            <a:endParaRPr lang="en-US"/>
          </a:p>
        </p:txBody>
      </p:sp>
      <p:sp>
        <p:nvSpPr>
          <p:cNvPr id="7" name="Picture Placeholder 1"/>
          <p:cNvSpPr>
            <a:spLocks noGrp="1"/>
          </p:cNvSpPr>
          <p:nvPr>
            <p:ph type="pic" sz="quarter" idx="10" hasCustomPrompt="1"/>
          </p:nvPr>
        </p:nvSpPr>
        <p:spPr>
          <a:xfrm>
            <a:off x="660404" y="1902187"/>
            <a:ext cx="5286309" cy="3856064"/>
          </a:xfrm>
          <a:solidFill>
            <a:schemeClr val="bg2"/>
          </a:solidFill>
          <a:ln>
            <a:noFill/>
          </a:ln>
        </p:spPr>
        <p:txBody>
          <a:bodyPr>
            <a:normAutofit/>
          </a:bodyPr>
          <a:lstStyle>
            <a:lvl1pPr>
              <a:defRPr sz="132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74306" marR="0" lvl="0" indent="-274306" algn="l" defTabSz="109722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Maps, Graphs, Diagrams, pie charts etc.</a:t>
            </a:r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2" hasCustomPrompt="1"/>
          </p:nvPr>
        </p:nvSpPr>
        <p:spPr>
          <a:xfrm>
            <a:off x="6203952" y="1902187"/>
            <a:ext cx="5286309" cy="3856064"/>
          </a:xfrm>
          <a:solidFill>
            <a:schemeClr val="bg2"/>
          </a:solidFill>
          <a:ln>
            <a:noFill/>
          </a:ln>
        </p:spPr>
        <p:txBody>
          <a:bodyPr>
            <a:normAutofit/>
          </a:bodyPr>
          <a:lstStyle>
            <a:lvl1pPr>
              <a:defRPr sz="132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274306" marR="0" lvl="0" indent="-274306" algn="l" defTabSz="109722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Maps, Graphs, Diagrams, pie charts etc.</a:t>
            </a:r>
          </a:p>
        </p:txBody>
      </p:sp>
    </p:spTree>
    <p:extLst>
      <p:ext uri="{BB962C8B-B14F-4D97-AF65-F5344CB8AC3E}">
        <p14:creationId xmlns:p14="http://schemas.microsoft.com/office/powerpoint/2010/main" val="5358489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mb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800" baseline="0">
                <a:latin typeface="Univers LT Std 55 Roman" charset="0"/>
              </a:defRPr>
            </a:lvl1pPr>
          </a:lstStyle>
          <a:p>
            <a:pPr marL="274306" marR="0" lvl="0" indent="-274306" algn="l" defTabSz="109722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to add the best image you have.</a:t>
            </a:r>
          </a:p>
        </p:txBody>
      </p:sp>
    </p:spTree>
    <p:extLst>
      <p:ext uri="{BB962C8B-B14F-4D97-AF65-F5344CB8AC3E}">
        <p14:creationId xmlns:p14="http://schemas.microsoft.com/office/powerpoint/2010/main" val="28436718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1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657226"/>
            <a:ext cx="4622800" cy="2600327"/>
          </a:xfrm>
          <a:solidFill>
            <a:schemeClr val="bg2"/>
          </a:solidFill>
        </p:spPr>
        <p:txBody>
          <a:bodyPr/>
          <a:lstStyle>
            <a:lvl1pPr marL="274306" marR="0" indent="-274306" algn="l" defTabSz="109722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latin typeface="Univers LT Std 55 Roman" charset="0"/>
              </a:defRPr>
            </a:lvl1pPr>
          </a:lstStyle>
          <a:p>
            <a:pPr marL="274306" marR="0" lvl="0" indent="-274306" algn="l" defTabSz="109722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icture</a:t>
            </a:r>
          </a:p>
          <a:p>
            <a:pPr marL="274306" marR="0" lvl="0" indent="-274306" algn="l" defTabSz="109722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13" hasCustomPrompt="1"/>
          </p:nvPr>
        </p:nvSpPr>
        <p:spPr>
          <a:xfrm>
            <a:off x="7569200" y="3743325"/>
            <a:ext cx="4622800" cy="2600327"/>
          </a:xfrm>
          <a:solidFill>
            <a:schemeClr val="bg2"/>
          </a:solidFill>
        </p:spPr>
        <p:txBody>
          <a:bodyPr/>
          <a:lstStyle>
            <a:lvl1pPr marL="274306" marR="0" indent="-274306" algn="l" defTabSz="109722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latin typeface="Univers LT Std 55 Roman" charset="0"/>
              </a:defRPr>
            </a:lvl1pPr>
          </a:lstStyle>
          <a:p>
            <a:pPr marL="274306" marR="0" lvl="0" indent="-274306" algn="l" defTabSz="109722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picture</a:t>
            </a:r>
          </a:p>
          <a:p>
            <a:pPr marL="274306" marR="0" lvl="0" indent="-274306" algn="l" defTabSz="1097225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09460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CD06E7-226F-5B42-980F-6E829A8A88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CE955A-67B2-AE41-91EC-BB06048626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D3F5DE-A460-EC48-B430-2303B5DF66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B38184F-EA39-B340-8A97-6AF3C3A2A5C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66B354A-D771-B446-8A4F-8AEE7FC44C1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2803E13-9CC7-8248-B54B-8C8D2A2F57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7B745-DF8B-0242-92E7-F0980AB518CD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0DCEDB4-E80F-6D48-BC70-4D6FE08F08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D728259-A89B-0A48-80EB-4A5A677E6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7729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2D7AA4-8527-CA4A-9556-ED5AD991BF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B296265-E4EC-994F-B9C5-6967FDFA69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7B745-DF8B-0242-92E7-F0980AB518CD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710E688-3679-4B44-97C3-3649853C07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BC71AD-904E-864A-952B-D00DAEBCF2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6942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B65BB43-3BDD-6345-A88A-EBD8280FCB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7B745-DF8B-0242-92E7-F0980AB518CD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B624E1-661D-E949-AF27-8D3B0BF8C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144AF7-7549-BD4F-AE35-94929A237E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9962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AE0E8D-1609-C04B-97CC-7F396A6714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BD726A-2033-DF44-A305-D3373F21E0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045EAE-E5DA-AF46-8BEA-FA318BFDDE3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F4EDA2A-2D64-074F-9C89-EC711B6A33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7B745-DF8B-0242-92E7-F0980AB518CD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C25C44-DB81-104D-8FC5-A14920D9F1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9F1100-A173-6449-AE5F-FE172AB82E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3905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3E8F4-C8D9-884D-8C47-14E7A812CE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EC1EE65-A0DD-4D45-A524-90BD7F487F5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094230-4975-5E4B-A3A0-73FBFC1B2D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D0042A-A447-7844-8902-E49A293D20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7B745-DF8B-0242-92E7-F0980AB518CD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FFC29C-AB84-B747-956B-B2B78750F8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2550B8A-8CA8-6D4E-8A18-E8775DE123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7182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1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38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C604B8D-4240-F147-8F34-E6AF9C9F44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47BB91-26D7-3D47-A398-6F60067913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6274D3-6492-1A42-8101-BFE2093D0D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E7B745-DF8B-0242-92E7-F0980AB518CD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6B9E42-48C8-1145-A3AB-6F4CBFA584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891B4C-9CD1-C14D-8ACD-E823177C06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357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89" r:id="rId12"/>
    <p:sldLayoutId id="2147483690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25561C5-B489-88DC-AB96-D6CE0E5E59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449C14-E216-312B-2006-70EC4FE1D46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708202-FCAC-ED78-C47C-09DB016C4E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28860D-44EB-4533-8D28-D98A4838226B}" type="datetimeFigureOut">
              <a:rPr lang="en-US" smtClean="0"/>
              <a:t>9/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551044-D6DC-E82C-8977-DAC85F675B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3674E6-BFFB-83A1-CDCC-74639A9F6F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C7A453-ACAA-4049-BD23-039590BFC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2498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1A9EE85-F89E-6870-4C90-440BCBE3C4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6684245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95" imgH="394" progId="TCLayout.ActiveDocument.1">
                  <p:embed/>
                </p:oleObj>
              </mc:Choice>
              <mc:Fallback>
                <p:oleObj name="think-cell Slide" r:id="rId21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1A9EE85-F89E-6870-4C90-440BCBE3C4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C604B8D-4240-F147-8F34-E6AF9C9F44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47BB91-26D7-3D47-A398-6F60067913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6274D3-6492-1A42-8101-BFE2093D0DA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6B9E42-48C8-1145-A3AB-6F4CBFA584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891B4C-9CD1-C14D-8ACD-E823177C06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B71CF-2512-DC4F-80BD-DF39A63C06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213441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eshare.unicef.org/Browse/Branding/Bluewashed-photos-and-guidanc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7" Type="http://schemas.openxmlformats.org/officeDocument/2006/relationships/image" Target="../media/image28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0.xml"/><Relationship Id="rId6" Type="http://schemas.openxmlformats.org/officeDocument/2006/relationships/package" Target="../embeddings/Microsoft_Excel_Worksheet1.xlsx"/><Relationship Id="rId5" Type="http://schemas.openxmlformats.org/officeDocument/2006/relationships/image" Target="../media/image27.emf"/><Relationship Id="rId4" Type="http://schemas.openxmlformats.org/officeDocument/2006/relationships/package" Target="../embeddings/Microsoft_Excel_Worksheet.xlsx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7" Type="http://schemas.openxmlformats.org/officeDocument/2006/relationships/image" Target="../media/image30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.xml"/><Relationship Id="rId6" Type="http://schemas.openxmlformats.org/officeDocument/2006/relationships/package" Target="../embeddings/Microsoft_Excel_Worksheet3.xlsx"/><Relationship Id="rId5" Type="http://schemas.openxmlformats.org/officeDocument/2006/relationships/image" Target="../media/image29.emf"/><Relationship Id="rId4" Type="http://schemas.openxmlformats.org/officeDocument/2006/relationships/package" Target="../embeddings/Microsoft_Excel_Worksheet2.xlsx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1.emf"/><Relationship Id="rId4" Type="http://schemas.openxmlformats.org/officeDocument/2006/relationships/package" Target="../embeddings/Microsoft_Excel_Worksheet4.xlsx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34.sv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4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0.xml"/><Relationship Id="rId5" Type="http://schemas.openxmlformats.org/officeDocument/2006/relationships/hyperlink" Target="https://app.powerbi.com/groups/me/reports/5f954844-8c41-4ec8-8e5a-a0896ba6197e/ReportSectionaa4be12ad07bce33b402?ctid=77410195-14e1-4fb8-904b-ab1892023667&amp;openReportSource=ReportInvitation&amp;experience=power-bi" TargetMode="External"/><Relationship Id="rId4" Type="http://schemas.openxmlformats.org/officeDocument/2006/relationships/image" Target="../media/image4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image" Target="../media/image20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hlinkClick r:id="rId3"/>
            <a:extLst>
              <a:ext uri="{FF2B5EF4-FFF2-40B4-BE49-F238E27FC236}">
                <a16:creationId xmlns:a16="http://schemas.microsoft.com/office/drawing/2014/main" id="{E4E9F5B2-9DEC-434C-B285-C07EA38920B2}"/>
              </a:ext>
            </a:extLst>
          </p:cNvPr>
          <p:cNvSpPr txBox="1">
            <a:spLocks/>
          </p:cNvSpPr>
          <p:nvPr/>
        </p:nvSpPr>
        <p:spPr>
          <a:xfrm>
            <a:off x="812730" y="559022"/>
            <a:ext cx="11540445" cy="664838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040"/>
              </a:lnSpc>
              <a:spcBef>
                <a:spcPts val="1200"/>
              </a:spcBef>
            </a:pPr>
            <a:endParaRPr lang="en-US" sz="2800">
              <a:ea typeface="+mj-lt"/>
              <a:cs typeface="+mj-lt"/>
            </a:endParaRPr>
          </a:p>
          <a:p>
            <a:pPr>
              <a:lnSpc>
                <a:spcPts val="4140"/>
              </a:lnSpc>
              <a:spcBef>
                <a:spcPts val="1200"/>
              </a:spcBef>
            </a:pPr>
            <a:endParaRPr lang="en-US" sz="23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7F85F7-C302-4933-83B0-C0EC56A94B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3002" y="4363489"/>
            <a:ext cx="5720345" cy="1158551"/>
          </a:xfrm>
          <a:prstGeom prst="rect">
            <a:avLst/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9F88DA75-870D-4947-8474-F1EEE477A5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8004101"/>
              </p:ext>
            </p:extLst>
          </p:nvPr>
        </p:nvGraphicFramePr>
        <p:xfrm>
          <a:off x="961292" y="905164"/>
          <a:ext cx="10417978" cy="4620983"/>
        </p:xfrm>
        <a:graphic>
          <a:graphicData uri="http://schemas.openxmlformats.org/drawingml/2006/table">
            <a:tbl>
              <a:tblPr firstRow="1">
                <a:tableStyleId>{9D7B26C5-4107-4FEC-AEDC-1716B250A1EF}</a:tableStyleId>
              </a:tblPr>
              <a:tblGrid>
                <a:gridCol w="10417978">
                  <a:extLst>
                    <a:ext uri="{9D8B030D-6E8A-4147-A177-3AD203B41FA5}">
                      <a16:colId xmlns:a16="http://schemas.microsoft.com/office/drawing/2014/main" val="1922222833"/>
                    </a:ext>
                  </a:extLst>
                </a:gridCol>
              </a:tblGrid>
              <a:tr h="2456032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6000" b="1" u="none" spc="0">
                          <a:latin typeface="Arial"/>
                          <a:cs typeface="Arial"/>
                        </a:rPr>
                        <a:t>Immunization Supply Chain Management - BCU</a:t>
                      </a:r>
                    </a:p>
                  </a:txBody>
                  <a:tcP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0116532"/>
                  </a:ext>
                </a:extLst>
              </a:tr>
              <a:tr h="121429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2000" b="0"/>
                        <a:t>EPI Managers Meeting  - Central Africa  </a:t>
                      </a:r>
                    </a:p>
                    <a:p>
                      <a:pPr marL="0" marR="0" lvl="0" indent="0" algn="l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2000" b="0"/>
                        <a:t>Celestin Traore &amp; Stephanie </a:t>
                      </a:r>
                      <a:r>
                        <a:rPr lang="en-US" sz="2000" b="0" err="1"/>
                        <a:t>Lapière</a:t>
                      </a:r>
                      <a:r>
                        <a:rPr lang="en-US" sz="2000" b="0"/>
                        <a:t>                                                                   </a:t>
                      </a:r>
                      <a:r>
                        <a:rPr lang="en-US" sz="2000"/>
                        <a:t>Sept 9, 2024 </a:t>
                      </a:r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88646447"/>
                  </a:ext>
                </a:extLst>
              </a:tr>
              <a:tr h="9506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2000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05518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548151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EE304D2F-D3E5-233A-AB73-BAC8C32A4056}"/>
              </a:ext>
            </a:extLst>
          </p:cNvPr>
          <p:cNvSpPr txBox="1"/>
          <p:nvPr/>
        </p:nvSpPr>
        <p:spPr>
          <a:xfrm>
            <a:off x="0" y="0"/>
            <a:ext cx="12192000" cy="990600"/>
          </a:xfrm>
          <a:prstGeom prst="rect">
            <a:avLst/>
          </a:prstGeom>
          <a:solidFill>
            <a:srgbClr val="00AEEF"/>
          </a:solidFill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4400" b="1"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n-US" sz="4000">
                <a:solidFill>
                  <a:schemeClr val="bg1"/>
                </a:solidFill>
              </a:rPr>
              <a:t>West Africa Region – BCU (Sep 02, 2025)</a:t>
            </a:r>
            <a:endParaRPr lang="en-US" sz="4000" b="1" kern="120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34E42FA-8AC6-3F40-77D2-C6D2D90F64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2530" y="1074965"/>
            <a:ext cx="11863290" cy="252410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BF07CB7-441C-8AE2-503E-CF7BB90029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530" y="3599069"/>
            <a:ext cx="11863290" cy="1851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5790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EE304D2F-D3E5-233A-AB73-BAC8C32A4056}"/>
              </a:ext>
            </a:extLst>
          </p:cNvPr>
          <p:cNvSpPr txBox="1"/>
          <p:nvPr/>
        </p:nvSpPr>
        <p:spPr>
          <a:xfrm>
            <a:off x="0" y="0"/>
            <a:ext cx="12192000" cy="990600"/>
          </a:xfrm>
          <a:prstGeom prst="rect">
            <a:avLst/>
          </a:prstGeom>
          <a:solidFill>
            <a:srgbClr val="00AEEF"/>
          </a:solidFill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4400" b="1"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n-US" sz="4000">
                <a:solidFill>
                  <a:schemeClr val="bg1"/>
                </a:solidFill>
              </a:rPr>
              <a:t>West Africa Region – BCU (Sep 02, 2025)</a:t>
            </a:r>
            <a:endParaRPr lang="en-US" sz="4000" b="1" kern="120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53ED09-E681-6E8E-D9FF-BB87111354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394" y="1124860"/>
            <a:ext cx="11752782" cy="681980"/>
          </a:xfrm>
          <a:prstGeom prst="rect">
            <a:avLst/>
          </a:prstGeom>
        </p:spPr>
      </p:pic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62ECD68B-65FA-B94B-A94D-2BA4F54BB65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96217691"/>
              </p:ext>
            </p:extLst>
          </p:nvPr>
        </p:nvGraphicFramePr>
        <p:xfrm>
          <a:off x="218394" y="1761032"/>
          <a:ext cx="11752782" cy="2433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9842437" imgH="2038401" progId="Excel.Sheet.12">
                  <p:embed/>
                </p:oleObj>
              </mc:Choice>
              <mc:Fallback>
                <p:oleObj name="Worksheet" r:id="rId4" imgW="9842437" imgH="2038401" progId="Excel.Sheet.12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62ECD68B-65FA-B94B-A94D-2BA4F54BB6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8394" y="1761032"/>
                        <a:ext cx="11752782" cy="2433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F578EAE4-6D4A-1D93-5129-4D6CE59303B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83314080"/>
              </p:ext>
            </p:extLst>
          </p:nvPr>
        </p:nvGraphicFramePr>
        <p:xfrm>
          <a:off x="218394" y="4158985"/>
          <a:ext cx="11748266" cy="21298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9842437" imgH="1784238" progId="Excel.Sheet.12">
                  <p:embed/>
                </p:oleObj>
              </mc:Choice>
              <mc:Fallback>
                <p:oleObj name="Worksheet" r:id="rId6" imgW="9842437" imgH="1784238" progId="Excel.Sheet.12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F578EAE4-6D4A-1D93-5129-4D6CE59303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8394" y="4158985"/>
                        <a:ext cx="11748266" cy="212984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681025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EE304D2F-D3E5-233A-AB73-BAC8C32A4056}"/>
              </a:ext>
            </a:extLst>
          </p:cNvPr>
          <p:cNvSpPr txBox="1"/>
          <p:nvPr/>
        </p:nvSpPr>
        <p:spPr>
          <a:xfrm>
            <a:off x="0" y="0"/>
            <a:ext cx="12192000" cy="990600"/>
          </a:xfrm>
          <a:prstGeom prst="rect">
            <a:avLst/>
          </a:prstGeom>
          <a:solidFill>
            <a:srgbClr val="00AEEF"/>
          </a:solidFill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4400" b="1"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n-US" sz="4000">
                <a:solidFill>
                  <a:schemeClr val="bg1"/>
                </a:solidFill>
              </a:rPr>
              <a:t>West Region – BCU (Sep 02, 2025)</a:t>
            </a:r>
            <a:endParaRPr lang="en-US" sz="4000" b="1" kern="120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53ED09-E681-6E8E-D9FF-BB87111354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394" y="1124860"/>
            <a:ext cx="11752782" cy="681980"/>
          </a:xfrm>
          <a:prstGeom prst="rect">
            <a:avLst/>
          </a:prstGeom>
        </p:spPr>
      </p:pic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id="{BE134432-6B62-03FB-62BD-325962621E7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34976773"/>
              </p:ext>
            </p:extLst>
          </p:nvPr>
        </p:nvGraphicFramePr>
        <p:xfrm>
          <a:off x="218393" y="1806839"/>
          <a:ext cx="11752781" cy="27372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9842437" imgH="2292333" progId="Excel.Sheet.12">
                  <p:embed/>
                </p:oleObj>
              </mc:Choice>
              <mc:Fallback>
                <p:oleObj name="Worksheet" r:id="rId4" imgW="9842437" imgH="2292333" progId="Excel.Sheet.12">
                  <p:embed/>
                  <p:pic>
                    <p:nvPicPr>
                      <p:cNvPr id="3" name="Object 2">
                        <a:extLst>
                          <a:ext uri="{FF2B5EF4-FFF2-40B4-BE49-F238E27FC236}">
                            <a16:creationId xmlns:a16="http://schemas.microsoft.com/office/drawing/2014/main" id="{BE134432-6B62-03FB-62BD-325962621E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8393" y="1806839"/>
                        <a:ext cx="11752781" cy="27372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1A7701C4-6D12-2DBA-6026-98348D08F63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00848835"/>
              </p:ext>
            </p:extLst>
          </p:nvPr>
        </p:nvGraphicFramePr>
        <p:xfrm>
          <a:off x="218391" y="4534768"/>
          <a:ext cx="11752780" cy="21306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9842437" imgH="1784238" progId="Excel.Sheet.12">
                  <p:embed/>
                </p:oleObj>
              </mc:Choice>
              <mc:Fallback>
                <p:oleObj name="Worksheet" r:id="rId6" imgW="9842437" imgH="1784238" progId="Excel.Sheet.12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1A7701C4-6D12-2DBA-6026-98348D08F6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8391" y="4534768"/>
                        <a:ext cx="11752780" cy="21306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030957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EE304D2F-D3E5-233A-AB73-BAC8C32A4056}"/>
              </a:ext>
            </a:extLst>
          </p:cNvPr>
          <p:cNvSpPr txBox="1"/>
          <p:nvPr/>
        </p:nvSpPr>
        <p:spPr>
          <a:xfrm>
            <a:off x="0" y="0"/>
            <a:ext cx="12192000" cy="990600"/>
          </a:xfrm>
          <a:prstGeom prst="rect">
            <a:avLst/>
          </a:prstGeom>
          <a:solidFill>
            <a:srgbClr val="00AEEF"/>
          </a:solidFill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4400" b="1"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n-US" sz="4000">
                <a:solidFill>
                  <a:schemeClr val="bg1"/>
                </a:solidFill>
              </a:rPr>
              <a:t>West Africa Region – BCU (Sep 02, 2025)</a:t>
            </a:r>
            <a:endParaRPr lang="en-US" sz="4000" b="1" kern="120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53ED09-E681-6E8E-D9FF-BB87111354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394" y="1124860"/>
            <a:ext cx="11752782" cy="681980"/>
          </a:xfrm>
          <a:prstGeom prst="rect">
            <a:avLst/>
          </a:prstGeom>
        </p:spPr>
      </p:pic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683754C1-23A9-B04A-B30E-473C1261E33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90919428"/>
              </p:ext>
            </p:extLst>
          </p:nvPr>
        </p:nvGraphicFramePr>
        <p:xfrm>
          <a:off x="218394" y="1797509"/>
          <a:ext cx="11752782" cy="45570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9842437" imgH="3816384" progId="Excel.Sheet.12">
                  <p:embed/>
                </p:oleObj>
              </mc:Choice>
              <mc:Fallback>
                <p:oleObj name="Worksheet" r:id="rId4" imgW="9842437" imgH="3816384" progId="Excel.Sheet.12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683754C1-23A9-B04A-B30E-473C1261E3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8394" y="1797509"/>
                        <a:ext cx="11752782" cy="45570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284530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EE304D2F-D3E5-233A-AB73-BAC8C32A4056}"/>
              </a:ext>
            </a:extLst>
          </p:cNvPr>
          <p:cNvSpPr txBox="1"/>
          <p:nvPr/>
        </p:nvSpPr>
        <p:spPr>
          <a:xfrm>
            <a:off x="0" y="0"/>
            <a:ext cx="12192000" cy="745435"/>
          </a:xfrm>
          <a:prstGeom prst="rect">
            <a:avLst/>
          </a:prstGeom>
          <a:solidFill>
            <a:srgbClr val="00AEEF"/>
          </a:solidFill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4400" b="1"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n-US" sz="4000">
                <a:solidFill>
                  <a:schemeClr val="bg1"/>
                </a:solidFill>
              </a:rPr>
              <a:t>West Africa Region – BCU (Sep 02, 2025)</a:t>
            </a:r>
            <a:endParaRPr lang="en-US" sz="4000" b="1" kern="120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6335DE3-8BC7-708E-E46C-33B1632117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661" y="1070113"/>
            <a:ext cx="11730245" cy="5231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99101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EE304D2F-D3E5-233A-AB73-BAC8C32A4056}"/>
              </a:ext>
            </a:extLst>
          </p:cNvPr>
          <p:cNvSpPr txBox="1"/>
          <p:nvPr/>
        </p:nvSpPr>
        <p:spPr>
          <a:xfrm>
            <a:off x="0" y="0"/>
            <a:ext cx="12192000" cy="990600"/>
          </a:xfrm>
          <a:prstGeom prst="rect">
            <a:avLst/>
          </a:prstGeom>
          <a:solidFill>
            <a:srgbClr val="00AEEF"/>
          </a:solidFill>
        </p:spPr>
        <p:txBody>
          <a:bodyPr vert="horz" lIns="91440" tIns="45720" rIns="91440" bIns="45720" rtlCol="0" anchor="ctr">
            <a:normAutofit fontScale="92500"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4400" b="1"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>
                <a:solidFill>
                  <a:schemeClr val="bg1"/>
                </a:solidFill>
              </a:rPr>
              <a:t>West Africa Region -(BCU) 2024-2025- Vaccine delivery lead time</a:t>
            </a:r>
            <a:endParaRPr lang="en-US" sz="4000" b="1" kern="120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16B2EA3-267B-E610-FBCC-C2F7DDEF45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2307" y="1396920"/>
            <a:ext cx="5402886" cy="4632405"/>
          </a:xfrm>
          <a:prstGeom prst="rect">
            <a:avLst/>
          </a:prstGeom>
        </p:spPr>
      </p:pic>
      <p:sp>
        <p:nvSpPr>
          <p:cNvPr id="2" name="Title 2">
            <a:extLst>
              <a:ext uri="{FF2B5EF4-FFF2-40B4-BE49-F238E27FC236}">
                <a16:creationId xmlns:a16="http://schemas.microsoft.com/office/drawing/2014/main" id="{9B7DACC9-D0B8-49B6-0E05-771DB5C64809}"/>
              </a:ext>
            </a:extLst>
          </p:cNvPr>
          <p:cNvSpPr txBox="1">
            <a:spLocks/>
          </p:cNvSpPr>
          <p:nvPr/>
        </p:nvSpPr>
        <p:spPr>
          <a:xfrm>
            <a:off x="286807" y="3156172"/>
            <a:ext cx="405316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cap="all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INDICATIVE LEAD TIM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32F7269-3AC0-8C13-D5F1-EA77EBBE52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6807" y="3526322"/>
            <a:ext cx="7858826" cy="184379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386CE1F-8E7F-DEA8-0A48-FFD3528A5BA3}"/>
              </a:ext>
            </a:extLst>
          </p:cNvPr>
          <p:cNvSpPr txBox="1"/>
          <p:nvPr/>
        </p:nvSpPr>
        <p:spPr>
          <a:xfrm>
            <a:off x="288045" y="1427054"/>
            <a:ext cx="627483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dirty="0"/>
              <a:t>No BCU implementation before validation of the shipment plan for Vaccines and Syringes </a:t>
            </a:r>
          </a:p>
        </p:txBody>
      </p:sp>
    </p:spTree>
    <p:extLst>
      <p:ext uri="{BB962C8B-B14F-4D97-AF65-F5344CB8AC3E}">
        <p14:creationId xmlns:p14="http://schemas.microsoft.com/office/powerpoint/2010/main" val="9090751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87BE00A-04BC-6CFD-6269-740D75B783C1}"/>
              </a:ext>
            </a:extLst>
          </p:cNvPr>
          <p:cNvSpPr txBox="1"/>
          <p:nvPr/>
        </p:nvSpPr>
        <p:spPr>
          <a:xfrm>
            <a:off x="351454" y="2721114"/>
            <a:ext cx="1184054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CU application and Implementation recommendations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368246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5" name="Content Placeholder 2">
            <a:extLst>
              <a:ext uri="{FF2B5EF4-FFF2-40B4-BE49-F238E27FC236}">
                <a16:creationId xmlns:a16="http://schemas.microsoft.com/office/drawing/2014/main" id="{8C7BD43A-1ED5-0B0E-BF20-E24F8D28406C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438539" y="1578428"/>
            <a:ext cx="10935478" cy="5145220"/>
          </a:xfrm>
          <a:noFill/>
        </p:spPr>
        <p:txBody>
          <a:bodyPr>
            <a:normAutofit/>
          </a:bodyPr>
          <a:lstStyle/>
          <a:p>
            <a:r>
              <a:rPr lang="en-US" sz="3200" dirty="0"/>
              <a:t>Long process to align narrative BCU plan and </a:t>
            </a:r>
            <a:r>
              <a:rPr lang="en-US" sz="3200"/>
              <a:t>BCU </a:t>
            </a:r>
            <a:r>
              <a:rPr lang="en-US" sz="3200" dirty="0"/>
              <a:t>vaccines quantification : miss alignment between the guidance, target populations and vaccines forecasting </a:t>
            </a:r>
            <a:r>
              <a:rPr lang="en-US" sz="3200" dirty="0">
                <a:sym typeface="Wingdings" panose="05000000000000000000" pitchFamily="2" charset="2"/>
              </a:rPr>
              <a:t> Consequences : delay in the submission and long approval process.</a:t>
            </a:r>
          </a:p>
          <a:p>
            <a:r>
              <a:rPr lang="en-US" sz="3200" dirty="0">
                <a:sym typeface="Wingdings" panose="05000000000000000000" pitchFamily="2" charset="2"/>
              </a:rPr>
              <a:t>Doses approval (Gavi’s DLs) in some countries are different from the plan (included 2024 and 2025 request, increased       or reduced       )  The implementation plan should be adjusted according to the approval of the doses.</a:t>
            </a:r>
          </a:p>
          <a:p>
            <a:endParaRPr lang="en-US" sz="320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304D2F-D3E5-233A-AB73-BAC8C32A4056}"/>
              </a:ext>
            </a:extLst>
          </p:cNvPr>
          <p:cNvSpPr txBox="1"/>
          <p:nvPr/>
        </p:nvSpPr>
        <p:spPr>
          <a:xfrm>
            <a:off x="0" y="0"/>
            <a:ext cx="12192000" cy="990600"/>
          </a:xfrm>
          <a:prstGeom prst="rect">
            <a:avLst/>
          </a:prstGeom>
          <a:solidFill>
            <a:srgbClr val="00AEEF"/>
          </a:solidFill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4400" b="1"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n-US" sz="4000" dirty="0">
                <a:solidFill>
                  <a:schemeClr val="bg1"/>
                </a:solidFill>
              </a:rPr>
              <a:t>BCU Supply Planning and review challenges</a:t>
            </a:r>
            <a:endParaRPr lang="en-US" sz="4000" b="1" kern="1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" name="Graphic 2" descr="Back with solid fill">
            <a:extLst>
              <a:ext uri="{FF2B5EF4-FFF2-40B4-BE49-F238E27FC236}">
                <a16:creationId xmlns:a16="http://schemas.microsoft.com/office/drawing/2014/main" id="{478D439D-3438-423E-B4CF-53A8F4A06F7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7956922" flipH="1">
            <a:off x="10439472" y="3838239"/>
            <a:ext cx="625597" cy="625597"/>
          </a:xfrm>
          <a:prstGeom prst="rect">
            <a:avLst/>
          </a:prstGeom>
        </p:spPr>
      </p:pic>
      <p:pic>
        <p:nvPicPr>
          <p:cNvPr id="3" name="Graphic 3" descr="Arrow: Counter-clockwise curve with solid fill">
            <a:extLst>
              <a:ext uri="{FF2B5EF4-FFF2-40B4-BE49-F238E27FC236}">
                <a16:creationId xmlns:a16="http://schemas.microsoft.com/office/drawing/2014/main" id="{01E94F27-605A-4503-B2AA-C7E8EF3EA9D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6200000">
            <a:off x="2588273" y="4283456"/>
            <a:ext cx="619125" cy="61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76457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EE304D2F-D3E5-233A-AB73-BAC8C32A4056}"/>
              </a:ext>
            </a:extLst>
          </p:cNvPr>
          <p:cNvSpPr txBox="1"/>
          <p:nvPr/>
        </p:nvSpPr>
        <p:spPr>
          <a:xfrm>
            <a:off x="0" y="0"/>
            <a:ext cx="12192000" cy="990600"/>
          </a:xfrm>
          <a:prstGeom prst="rect">
            <a:avLst/>
          </a:prstGeom>
          <a:solidFill>
            <a:srgbClr val="00AEEF"/>
          </a:solidFill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4400" b="1"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n-US" sz="4000" dirty="0">
                <a:solidFill>
                  <a:schemeClr val="bg1"/>
                </a:solidFill>
              </a:rPr>
              <a:t>Recommendations for Implementation</a:t>
            </a:r>
            <a:endParaRPr lang="en-US" sz="4000" b="1" kern="12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79EABA1-5353-D772-7E02-FA1225D0F77F}"/>
              </a:ext>
            </a:extLst>
          </p:cNvPr>
          <p:cNvSpPr txBox="1">
            <a:spLocks/>
          </p:cNvSpPr>
          <p:nvPr/>
        </p:nvSpPr>
        <p:spPr>
          <a:xfrm>
            <a:off x="339012" y="1382485"/>
            <a:ext cx="11513976" cy="5145220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No BCU implementation before validation of the shipment plan for Vaccines and Syringes </a:t>
            </a:r>
          </a:p>
          <a:p>
            <a:r>
              <a:rPr lang="en-US" sz="3200" dirty="0"/>
              <a:t>BCU implementation is critical and BCU doses utilization are for BCU target </a:t>
            </a:r>
            <a:r>
              <a:rPr lang="en-US" sz="3200" dirty="0">
                <a:sym typeface="Wingdings" panose="05000000000000000000" pitchFamily="2" charset="2"/>
              </a:rPr>
              <a:t> Monitoring of consumption should be implemented to avoid utilization of the BCU doses into routine target group</a:t>
            </a:r>
            <a:endParaRPr lang="en-US" sz="3200" dirty="0"/>
          </a:p>
          <a:p>
            <a:r>
              <a:rPr lang="en-US" sz="3200" dirty="0"/>
              <a:t>Country should report monthly stock BCU vaccines doses </a:t>
            </a:r>
            <a:r>
              <a:rPr lang="en-US" sz="3200" dirty="0">
                <a:sym typeface="Wingdings" panose="05000000000000000000" pitchFamily="2" charset="2"/>
              </a:rPr>
              <a:t>into the same monthly mechanism as routines doses 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 Thrive360</a:t>
            </a:r>
          </a:p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40124169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95CB58E-73DC-01CF-6DD1-5949E0C0E46B}"/>
              </a:ext>
            </a:extLst>
          </p:cNvPr>
          <p:cNvSpPr txBox="1"/>
          <p:nvPr/>
        </p:nvSpPr>
        <p:spPr>
          <a:xfrm>
            <a:off x="660901" y="2721493"/>
            <a:ext cx="1100934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Thrive360 and Monitoring BCU doses</a:t>
            </a:r>
            <a:endParaRPr kumimoji="0" lang="en-US" sz="5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8461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11684634" y="6398767"/>
            <a:ext cx="10287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9" name="object 29"/>
          <p:cNvSpPr txBox="1">
            <a:spLocks noGrp="1"/>
          </p:cNvSpPr>
          <p:nvPr>
            <p:ph type="ctrTitle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b="1" spc="-5">
                <a:solidFill>
                  <a:srgbClr val="000000"/>
                </a:solidFill>
                <a:latin typeface="Calibri"/>
                <a:cs typeface="Calibri"/>
              </a:rPr>
              <a:t>Outline</a:t>
            </a:r>
            <a:endParaRPr sz="2000">
              <a:latin typeface="Calibri"/>
              <a:cs typeface="Calibri"/>
            </a:endParaRPr>
          </a:p>
        </p:txBody>
      </p:sp>
      <p:pic>
        <p:nvPicPr>
          <p:cNvPr id="31" name="object 31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903089" y="82647"/>
            <a:ext cx="2176052" cy="290497"/>
          </a:xfrm>
          <a:prstGeom prst="rect">
            <a:avLst/>
          </a:prstGeom>
        </p:spPr>
      </p:pic>
      <p:grpSp>
        <p:nvGrpSpPr>
          <p:cNvPr id="39" name="Group 38">
            <a:extLst>
              <a:ext uri="{FF2B5EF4-FFF2-40B4-BE49-F238E27FC236}">
                <a16:creationId xmlns:a16="http://schemas.microsoft.com/office/drawing/2014/main" id="{B610B8A8-0F24-D7F5-4EE5-CCEC923CEA59}"/>
              </a:ext>
            </a:extLst>
          </p:cNvPr>
          <p:cNvGrpSpPr/>
          <p:nvPr/>
        </p:nvGrpSpPr>
        <p:grpSpPr>
          <a:xfrm>
            <a:off x="1496673" y="1910814"/>
            <a:ext cx="8277795" cy="3138386"/>
            <a:chOff x="1416710" y="1924050"/>
            <a:chExt cx="8277795" cy="3138386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9141BFC-7225-D25A-8817-B7473528E36E}"/>
                </a:ext>
              </a:extLst>
            </p:cNvPr>
            <p:cNvGrpSpPr/>
            <p:nvPr/>
          </p:nvGrpSpPr>
          <p:grpSpPr>
            <a:xfrm>
              <a:off x="1416710" y="1924050"/>
              <a:ext cx="8277795" cy="2300622"/>
              <a:chOff x="1356360" y="1037844"/>
              <a:chExt cx="8277795" cy="2653377"/>
            </a:xfrm>
          </p:grpSpPr>
          <p:grpSp>
            <p:nvGrpSpPr>
              <p:cNvPr id="22" name="object 22"/>
              <p:cNvGrpSpPr/>
              <p:nvPr/>
            </p:nvGrpSpPr>
            <p:grpSpPr>
              <a:xfrm>
                <a:off x="1356360" y="1037844"/>
                <a:ext cx="8183880" cy="745236"/>
                <a:chOff x="1356360" y="1037844"/>
                <a:chExt cx="8183880" cy="745236"/>
              </a:xfrm>
            </p:grpSpPr>
            <p:sp>
              <p:nvSpPr>
                <p:cNvPr id="23" name="object 23"/>
                <p:cNvSpPr/>
                <p:nvPr/>
              </p:nvSpPr>
              <p:spPr>
                <a:xfrm>
                  <a:off x="9502140" y="1310640"/>
                  <a:ext cx="38100" cy="208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100" h="208915">
                      <a:moveTo>
                        <a:pt x="38100" y="0"/>
                      </a:moveTo>
                      <a:lnTo>
                        <a:pt x="0" y="0"/>
                      </a:lnTo>
                      <a:lnTo>
                        <a:pt x="0" y="208787"/>
                      </a:lnTo>
                      <a:lnTo>
                        <a:pt x="38100" y="208787"/>
                      </a:lnTo>
                      <a:lnTo>
                        <a:pt x="38100" y="0"/>
                      </a:lnTo>
                      <a:close/>
                    </a:path>
                  </a:pathLst>
                </a:custGeom>
                <a:solidFill>
                  <a:srgbClr val="585858"/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24" name="object 24"/>
                <p:cNvPicPr/>
                <p:nvPr/>
              </p:nvPicPr>
              <p:blipFill>
                <a:blip r:embed="rId3" cstate="print"/>
                <a:stretch>
                  <a:fillRect/>
                </a:stretch>
              </p:blipFill>
              <p:spPr>
                <a:xfrm>
                  <a:off x="1356360" y="1037844"/>
                  <a:ext cx="608076" cy="745236"/>
                </a:xfrm>
                <a:prstGeom prst="rect">
                  <a:avLst/>
                </a:prstGeom>
              </p:spPr>
            </p:pic>
            <p:pic>
              <p:nvPicPr>
                <p:cNvPr id="25" name="object 25"/>
                <p:cNvPicPr/>
                <p:nvPr/>
              </p:nvPicPr>
              <p:blipFill>
                <a:blip r:embed="rId4" cstate="print"/>
                <a:stretch>
                  <a:fillRect/>
                </a:stretch>
              </p:blipFill>
              <p:spPr>
                <a:xfrm>
                  <a:off x="1440180" y="1187157"/>
                  <a:ext cx="437349" cy="502958"/>
                </a:xfrm>
                <a:prstGeom prst="rect">
                  <a:avLst/>
                </a:prstGeom>
              </p:spPr>
            </p:pic>
            <p:sp>
              <p:nvSpPr>
                <p:cNvPr id="26" name="object 26"/>
                <p:cNvSpPr/>
                <p:nvPr/>
              </p:nvSpPr>
              <p:spPr>
                <a:xfrm>
                  <a:off x="1382268" y="1063752"/>
                  <a:ext cx="506095" cy="6432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6094" h="643255">
                      <a:moveTo>
                        <a:pt x="505968" y="0"/>
                      </a:moveTo>
                      <a:lnTo>
                        <a:pt x="0" y="0"/>
                      </a:lnTo>
                      <a:lnTo>
                        <a:pt x="0" y="643127"/>
                      </a:lnTo>
                      <a:lnTo>
                        <a:pt x="505968" y="643127"/>
                      </a:lnTo>
                      <a:lnTo>
                        <a:pt x="505968" y="0"/>
                      </a:lnTo>
                      <a:close/>
                    </a:path>
                  </a:pathLst>
                </a:custGeom>
                <a:solidFill>
                  <a:srgbClr val="00AFEF"/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3" name="object 3"/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2012188" y="2154936"/>
                <a:ext cx="7621967" cy="650748"/>
              </a:xfrm>
              <a:prstGeom prst="rect">
                <a:avLst/>
              </a:prstGeom>
            </p:spPr>
          </p:pic>
          <p:grpSp>
            <p:nvGrpSpPr>
              <p:cNvPr id="5" name="object 5"/>
              <p:cNvGrpSpPr/>
              <p:nvPr/>
            </p:nvGrpSpPr>
            <p:grpSpPr>
              <a:xfrm>
                <a:off x="1376681" y="2129028"/>
                <a:ext cx="608076" cy="745236"/>
                <a:chOff x="1356360" y="2148839"/>
                <a:chExt cx="608076" cy="745236"/>
              </a:xfrm>
            </p:grpSpPr>
            <p:pic>
              <p:nvPicPr>
                <p:cNvPr id="7" name="object 7"/>
                <p:cNvPicPr/>
                <p:nvPr/>
              </p:nvPicPr>
              <p:blipFill>
                <a:blip r:embed="rId3" cstate="print"/>
                <a:stretch>
                  <a:fillRect/>
                </a:stretch>
              </p:blipFill>
              <p:spPr>
                <a:xfrm>
                  <a:off x="1356360" y="2148839"/>
                  <a:ext cx="608076" cy="745236"/>
                </a:xfrm>
                <a:prstGeom prst="rect">
                  <a:avLst/>
                </a:prstGeom>
              </p:spPr>
            </p:pic>
            <p:pic>
              <p:nvPicPr>
                <p:cNvPr id="8" name="object 8"/>
                <p:cNvPicPr/>
                <p:nvPr/>
              </p:nvPicPr>
              <p:blipFill>
                <a:blip r:embed="rId6" cstate="print"/>
                <a:stretch>
                  <a:fillRect/>
                </a:stretch>
              </p:blipFill>
              <p:spPr>
                <a:xfrm>
                  <a:off x="1440180" y="2298153"/>
                  <a:ext cx="437349" cy="502958"/>
                </a:xfrm>
                <a:prstGeom prst="rect">
                  <a:avLst/>
                </a:prstGeom>
              </p:spPr>
            </p:pic>
            <p:sp>
              <p:nvSpPr>
                <p:cNvPr id="9" name="object 9"/>
                <p:cNvSpPr/>
                <p:nvPr/>
              </p:nvSpPr>
              <p:spPr>
                <a:xfrm>
                  <a:off x="1382268" y="2174747"/>
                  <a:ext cx="506095" cy="6432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6094" h="643255">
                      <a:moveTo>
                        <a:pt x="505968" y="0"/>
                      </a:moveTo>
                      <a:lnTo>
                        <a:pt x="0" y="0"/>
                      </a:lnTo>
                      <a:lnTo>
                        <a:pt x="0" y="643127"/>
                      </a:lnTo>
                      <a:lnTo>
                        <a:pt x="505968" y="643127"/>
                      </a:lnTo>
                      <a:lnTo>
                        <a:pt x="505968" y="0"/>
                      </a:lnTo>
                      <a:close/>
                    </a:path>
                  </a:pathLst>
                </a:custGeom>
                <a:solidFill>
                  <a:srgbClr val="00AFEF"/>
                </a:solidFill>
              </p:spPr>
              <p:txBody>
                <a:bodyPr wrap="square" lIns="0" tIns="0" rIns="0" bIns="0" rtlCol="0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" name="object 10"/>
              <p:cNvSpPr txBox="1"/>
              <p:nvPr/>
            </p:nvSpPr>
            <p:spPr>
              <a:xfrm>
                <a:off x="1589279" y="2345183"/>
                <a:ext cx="131445" cy="254000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500" b="1" i="0" u="none" strike="noStrike" kern="1200" cap="none" spc="-5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2</a:t>
                </a:r>
                <a:endParaRPr kumimoji="0" sz="1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7" name="object 17"/>
              <p:cNvSpPr txBox="1"/>
              <p:nvPr/>
            </p:nvSpPr>
            <p:spPr>
              <a:xfrm>
                <a:off x="1589532" y="3410205"/>
                <a:ext cx="131445" cy="281016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18" name="object 18"/>
              <p:cNvSpPr/>
              <p:nvPr/>
            </p:nvSpPr>
            <p:spPr>
              <a:xfrm>
                <a:off x="1376681" y="3056089"/>
                <a:ext cx="5778500" cy="0"/>
              </a:xfrm>
              <a:custGeom>
                <a:avLst/>
                <a:gdLst/>
                <a:ahLst/>
                <a:cxnLst/>
                <a:rect l="l" t="t" r="r" b="b"/>
                <a:pathLst>
                  <a:path w="5778500">
                    <a:moveTo>
                      <a:pt x="0" y="0"/>
                    </a:moveTo>
                    <a:lnTo>
                      <a:pt x="5777992" y="0"/>
                    </a:lnTo>
                  </a:path>
                </a:pathLst>
              </a:custGeom>
              <a:ln w="9525">
                <a:solidFill>
                  <a:srgbClr val="A6A6A6"/>
                </a:solidFill>
                <a:prstDash val="sysDashDot"/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20" name="object 20"/>
              <p:cNvPicPr/>
              <p:nvPr/>
            </p:nvPicPr>
            <p:blipFill>
              <a:blip r:embed="rId7" cstate="print"/>
              <a:stretch>
                <a:fillRect/>
              </a:stretch>
            </p:blipFill>
            <p:spPr>
              <a:xfrm>
                <a:off x="1964436" y="1073023"/>
                <a:ext cx="7621968" cy="649224"/>
              </a:xfrm>
              <a:prstGeom prst="rect">
                <a:avLst/>
              </a:prstGeom>
            </p:spPr>
          </p:pic>
          <p:sp>
            <p:nvSpPr>
              <p:cNvPr id="27" name="object 27"/>
              <p:cNvSpPr txBox="1"/>
              <p:nvPr/>
            </p:nvSpPr>
            <p:spPr>
              <a:xfrm>
                <a:off x="1589279" y="1233882"/>
                <a:ext cx="132080" cy="254635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1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sz="15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1</a:t>
                </a:r>
                <a:endParaRPr kumimoji="0" sz="15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  <p:sp>
            <p:nvSpPr>
              <p:cNvPr id="28" name="object 28"/>
              <p:cNvSpPr/>
              <p:nvPr/>
            </p:nvSpPr>
            <p:spPr>
              <a:xfrm>
                <a:off x="1404112" y="1888237"/>
                <a:ext cx="5778500" cy="0"/>
              </a:xfrm>
              <a:custGeom>
                <a:avLst/>
                <a:gdLst/>
                <a:ahLst/>
                <a:cxnLst/>
                <a:rect l="l" t="t" r="r" b="b"/>
                <a:pathLst>
                  <a:path w="5778500">
                    <a:moveTo>
                      <a:pt x="0" y="0"/>
                    </a:moveTo>
                    <a:lnTo>
                      <a:pt x="5777992" y="0"/>
                    </a:lnTo>
                  </a:path>
                </a:pathLst>
              </a:custGeom>
              <a:ln w="9525">
                <a:solidFill>
                  <a:srgbClr val="A6A6A6"/>
                </a:solidFill>
                <a:prstDash val="sysDashDot"/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" name="object 4"/>
              <p:cNvSpPr txBox="1"/>
              <p:nvPr/>
            </p:nvSpPr>
            <p:spPr>
              <a:xfrm>
                <a:off x="2065087" y="1245107"/>
                <a:ext cx="7307445" cy="264008"/>
              </a:xfrm>
              <a:prstGeom prst="rect">
                <a:avLst/>
              </a:prstGeom>
            </p:spPr>
            <p:txBody>
              <a:bodyPr vert="horz" wrap="square" lIns="0" tIns="13335" rIns="0" bIns="0" rtlCol="0">
                <a:spAutoFit/>
              </a:bodyPr>
              <a:lstStyle/>
              <a:p>
                <a:pPr marL="12700" marR="508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105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b="1">
                    <a:latin typeface="Calibri" panose="020F0502020204030204" pitchFamily="34" charset="0"/>
                    <a:ea typeface="Calibri" panose="020F0502020204030204" pitchFamily="34" charset="0"/>
                  </a:rPr>
                  <a:t>Big Catch up </a:t>
                </a:r>
                <a:r>
                  <a:rPr lang="en-US" sz="1400" b="1">
                    <a:effectLst/>
                    <a:latin typeface="Calibri" panose="020F0502020204030204" pitchFamily="34" charset="0"/>
                    <a:ea typeface="Calibri" panose="020F0502020204030204" pitchFamily="34" charset="0"/>
                  </a:rPr>
                  <a:t>(BCU) 2024-2025 Supply Status in West &amp; Central Africa </a:t>
                </a: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/>
                </a:endParaRPr>
              </a:p>
            </p:txBody>
          </p:sp>
        </p:grpSp>
        <p:sp>
          <p:nvSpPr>
            <p:cNvPr id="38" name="object 17">
              <a:extLst>
                <a:ext uri="{FF2B5EF4-FFF2-40B4-BE49-F238E27FC236}">
                  <a16:creationId xmlns:a16="http://schemas.microsoft.com/office/drawing/2014/main" id="{2696D19E-27A6-A41E-07FC-F22ACDBA3B4E}"/>
                </a:ext>
              </a:extLst>
            </p:cNvPr>
            <p:cNvSpPr txBox="1"/>
            <p:nvPr/>
          </p:nvSpPr>
          <p:spPr>
            <a:xfrm>
              <a:off x="1624355" y="4818780"/>
              <a:ext cx="131445" cy="243656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500" b="1" spc="-5">
                  <a:solidFill>
                    <a:srgbClr val="FFFFFF"/>
                  </a:solidFill>
                  <a:latin typeface="Arial"/>
                  <a:cs typeface="Arial"/>
                </a:rPr>
                <a:t>4</a:t>
              </a:r>
              <a:endParaRPr kumimoji="0" sz="15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0F1908E-E5CF-4B3B-F938-B87BBFD3A47F}"/>
              </a:ext>
            </a:extLst>
          </p:cNvPr>
          <p:cNvGrpSpPr/>
          <p:nvPr/>
        </p:nvGrpSpPr>
        <p:grpSpPr>
          <a:xfrm>
            <a:off x="1516994" y="3043839"/>
            <a:ext cx="8129016" cy="1508053"/>
            <a:chOff x="1356360" y="2133289"/>
            <a:chExt cx="8129016" cy="1914455"/>
          </a:xfrm>
        </p:grpSpPr>
        <p:grpSp>
          <p:nvGrpSpPr>
            <p:cNvPr id="16" name="object 11">
              <a:extLst>
                <a:ext uri="{FF2B5EF4-FFF2-40B4-BE49-F238E27FC236}">
                  <a16:creationId xmlns:a16="http://schemas.microsoft.com/office/drawing/2014/main" id="{AA964F8C-9001-7C64-EA76-BD8418A84B6B}"/>
                </a:ext>
              </a:extLst>
            </p:cNvPr>
            <p:cNvGrpSpPr/>
            <p:nvPr/>
          </p:nvGrpSpPr>
          <p:grpSpPr>
            <a:xfrm>
              <a:off x="1356360" y="3167085"/>
              <a:ext cx="8129016" cy="743724"/>
              <a:chOff x="1356360" y="3214103"/>
              <a:chExt cx="8129016" cy="743724"/>
            </a:xfrm>
          </p:grpSpPr>
          <p:pic>
            <p:nvPicPr>
              <p:cNvPr id="37" name="object 12">
                <a:extLst>
                  <a:ext uri="{FF2B5EF4-FFF2-40B4-BE49-F238E27FC236}">
                    <a16:creationId xmlns:a16="http://schemas.microsoft.com/office/drawing/2014/main" id="{61492529-F5EC-5EFA-CE9D-CB4554682CA4}"/>
                  </a:ext>
                </a:extLst>
              </p:cNvPr>
              <p:cNvPicPr/>
              <p:nvPr/>
            </p:nvPicPr>
            <p:blipFill>
              <a:blip r:embed="rId8" cstate="print"/>
              <a:stretch>
                <a:fillRect/>
              </a:stretch>
            </p:blipFill>
            <p:spPr>
              <a:xfrm>
                <a:off x="1952244" y="3232403"/>
                <a:ext cx="7533132" cy="649224"/>
              </a:xfrm>
              <a:prstGeom prst="rect">
                <a:avLst/>
              </a:prstGeom>
            </p:spPr>
          </p:pic>
          <p:pic>
            <p:nvPicPr>
              <p:cNvPr id="43" name="object 14">
                <a:extLst>
                  <a:ext uri="{FF2B5EF4-FFF2-40B4-BE49-F238E27FC236}">
                    <a16:creationId xmlns:a16="http://schemas.microsoft.com/office/drawing/2014/main" id="{F84EF203-2A6F-13B5-76F8-7E037E258897}"/>
                  </a:ext>
                </a:extLst>
              </p:cNvPr>
              <p:cNvPicPr/>
              <p:nvPr/>
            </p:nvPicPr>
            <p:blipFill>
              <a:blip r:embed="rId9" cstate="print"/>
              <a:stretch>
                <a:fillRect/>
              </a:stretch>
            </p:blipFill>
            <p:spPr>
              <a:xfrm>
                <a:off x="1356360" y="3214103"/>
                <a:ext cx="608076" cy="743724"/>
              </a:xfrm>
              <a:prstGeom prst="rect">
                <a:avLst/>
              </a:prstGeom>
            </p:spPr>
          </p:pic>
          <p:pic>
            <p:nvPicPr>
              <p:cNvPr id="44" name="object 15">
                <a:extLst>
                  <a:ext uri="{FF2B5EF4-FFF2-40B4-BE49-F238E27FC236}">
                    <a16:creationId xmlns:a16="http://schemas.microsoft.com/office/drawing/2014/main" id="{EC0D8A47-9966-4F36-C436-70A3D1A09258}"/>
                  </a:ext>
                </a:extLst>
              </p:cNvPr>
              <p:cNvPicPr/>
              <p:nvPr/>
            </p:nvPicPr>
            <p:blipFill>
              <a:blip r:embed="rId10" cstate="print"/>
              <a:stretch>
                <a:fillRect/>
              </a:stretch>
            </p:blipFill>
            <p:spPr>
              <a:xfrm>
                <a:off x="1440180" y="3363493"/>
                <a:ext cx="437349" cy="501370"/>
              </a:xfrm>
              <a:prstGeom prst="rect">
                <a:avLst/>
              </a:prstGeom>
            </p:spPr>
          </p:pic>
          <p:sp>
            <p:nvSpPr>
              <p:cNvPr id="45" name="object 16">
                <a:extLst>
                  <a:ext uri="{FF2B5EF4-FFF2-40B4-BE49-F238E27FC236}">
                    <a16:creationId xmlns:a16="http://schemas.microsoft.com/office/drawing/2014/main" id="{6179155D-847A-F5F5-C173-67D09564B7C0}"/>
                  </a:ext>
                </a:extLst>
              </p:cNvPr>
              <p:cNvSpPr/>
              <p:nvPr/>
            </p:nvSpPr>
            <p:spPr>
              <a:xfrm>
                <a:off x="1382268" y="3240023"/>
                <a:ext cx="506095" cy="641985"/>
              </a:xfrm>
              <a:custGeom>
                <a:avLst/>
                <a:gdLst/>
                <a:ahLst/>
                <a:cxnLst/>
                <a:rect l="l" t="t" r="r" b="b"/>
                <a:pathLst>
                  <a:path w="506094" h="641985">
                    <a:moveTo>
                      <a:pt x="505968" y="0"/>
                    </a:moveTo>
                    <a:lnTo>
                      <a:pt x="0" y="0"/>
                    </a:lnTo>
                    <a:lnTo>
                      <a:pt x="0" y="641603"/>
                    </a:lnTo>
                    <a:lnTo>
                      <a:pt x="505968" y="641603"/>
                    </a:lnTo>
                    <a:lnTo>
                      <a:pt x="505968" y="0"/>
                    </a:lnTo>
                    <a:close/>
                  </a:path>
                </a:pathLst>
              </a:custGeom>
              <a:solidFill>
                <a:srgbClr val="00AFEF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19" name="object 17">
              <a:extLst>
                <a:ext uri="{FF2B5EF4-FFF2-40B4-BE49-F238E27FC236}">
                  <a16:creationId xmlns:a16="http://schemas.microsoft.com/office/drawing/2014/main" id="{88FEF0EA-11D5-C08A-700C-4604BA69594A}"/>
                </a:ext>
              </a:extLst>
            </p:cNvPr>
            <p:cNvSpPr txBox="1"/>
            <p:nvPr/>
          </p:nvSpPr>
          <p:spPr>
            <a:xfrm>
              <a:off x="1589532" y="3410205"/>
              <a:ext cx="131445" cy="25400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500" b="1" spc="-5">
                  <a:solidFill>
                    <a:srgbClr val="FFFFFF"/>
                  </a:solidFill>
                  <a:latin typeface="Arial"/>
                  <a:cs typeface="Arial"/>
                </a:rPr>
                <a:t>3</a:t>
              </a:r>
              <a:endParaRPr sz="1500">
                <a:latin typeface="Arial"/>
                <a:cs typeface="Arial"/>
              </a:endParaRPr>
            </a:p>
          </p:txBody>
        </p:sp>
        <p:sp>
          <p:nvSpPr>
            <p:cNvPr id="30" name="object 19">
              <a:extLst>
                <a:ext uri="{FF2B5EF4-FFF2-40B4-BE49-F238E27FC236}">
                  <a16:creationId xmlns:a16="http://schemas.microsoft.com/office/drawing/2014/main" id="{97E7B018-86C5-6E79-E37E-B4307C4F7EF2}"/>
                </a:ext>
              </a:extLst>
            </p:cNvPr>
            <p:cNvSpPr/>
            <p:nvPr/>
          </p:nvSpPr>
          <p:spPr>
            <a:xfrm>
              <a:off x="1385824" y="4047744"/>
              <a:ext cx="5778500" cy="0"/>
            </a:xfrm>
            <a:custGeom>
              <a:avLst/>
              <a:gdLst/>
              <a:ahLst/>
              <a:cxnLst/>
              <a:rect l="l" t="t" r="r" b="b"/>
              <a:pathLst>
                <a:path w="5778500">
                  <a:moveTo>
                    <a:pt x="0" y="0"/>
                  </a:moveTo>
                  <a:lnTo>
                    <a:pt x="5777992" y="0"/>
                  </a:lnTo>
                </a:path>
              </a:pathLst>
            </a:custGeom>
            <a:ln w="9525">
              <a:solidFill>
                <a:srgbClr val="A6A6A6"/>
              </a:solidFill>
              <a:prstDash val="sysDashDot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0">
              <a:extLst>
                <a:ext uri="{FF2B5EF4-FFF2-40B4-BE49-F238E27FC236}">
                  <a16:creationId xmlns:a16="http://schemas.microsoft.com/office/drawing/2014/main" id="{23E9D199-9C49-AB6F-638A-5C35BD471DC9}"/>
                </a:ext>
              </a:extLst>
            </p:cNvPr>
            <p:cNvSpPr txBox="1"/>
            <p:nvPr/>
          </p:nvSpPr>
          <p:spPr>
            <a:xfrm>
              <a:off x="2093214" y="2133289"/>
              <a:ext cx="4880736" cy="280828"/>
            </a:xfrm>
            <a:prstGeom prst="rect">
              <a:avLst/>
            </a:prstGeom>
          </p:spPr>
          <p:txBody>
            <a:bodyPr vert="horz" wrap="square" lIns="0" tIns="13335" rIns="0" bIns="0" rtlCol="0">
              <a:spAutoFit/>
            </a:bodyPr>
            <a:lstStyle/>
            <a:p>
              <a:pPr marL="12700" marR="5080">
                <a:lnSpc>
                  <a:spcPct val="100000"/>
                </a:lnSpc>
                <a:spcBef>
                  <a:spcPts val="105"/>
                </a:spcBef>
              </a:pPr>
              <a:r>
                <a:rPr lang="en-US" sz="1350" b="1" dirty="0">
                  <a:latin typeface="Arial"/>
                  <a:cs typeface="Arial"/>
                </a:rPr>
                <a:t>BCU application and Implementation recommendations</a:t>
              </a: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D4B09A30-4217-E0AF-1F4A-55C1DFF37972}"/>
              </a:ext>
            </a:extLst>
          </p:cNvPr>
          <p:cNvSpPr txBox="1"/>
          <p:nvPr/>
        </p:nvSpPr>
        <p:spPr>
          <a:xfrm>
            <a:off x="2225106" y="3956457"/>
            <a:ext cx="689439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onitoring doses BCU and Thrive360</a:t>
            </a:r>
            <a:endParaRPr lang="en-US" sz="1400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A8FEAFD2-52AC-452E-B4D5-C4CC4AF86C54}"/>
              </a:ext>
            </a:extLst>
          </p:cNvPr>
          <p:cNvGrpSpPr/>
          <p:nvPr/>
        </p:nvGrpSpPr>
        <p:grpSpPr>
          <a:xfrm>
            <a:off x="548241" y="482743"/>
            <a:ext cx="6717742" cy="5849991"/>
            <a:chOff x="548241" y="482743"/>
            <a:chExt cx="6717742" cy="584999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E24D8CA5-52FD-4B6C-A3EE-3DAB750913C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48241" y="482743"/>
              <a:ext cx="3286389" cy="1848594"/>
            </a:xfrm>
            <a:prstGeom prst="rect">
              <a:avLst/>
            </a:prstGeom>
            <a:ln w="127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81608A7-9CF5-4AE7-899D-CC67C9BFF83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48241" y="2483441"/>
              <a:ext cx="3286389" cy="1848594"/>
            </a:xfrm>
            <a:prstGeom prst="rect">
              <a:avLst/>
            </a:prstGeom>
            <a:ln w="127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9DC95CC4-71C8-4B32-B151-AD4DC38FFF2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8241" y="4484140"/>
              <a:ext cx="3286389" cy="1848594"/>
            </a:xfrm>
            <a:prstGeom prst="rect">
              <a:avLst/>
            </a:prstGeom>
            <a:ln w="127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D841EC02-2604-4F19-9145-F9161B51F64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979594" y="482744"/>
              <a:ext cx="3286389" cy="1848594"/>
            </a:xfrm>
            <a:prstGeom prst="rect">
              <a:avLst/>
            </a:prstGeom>
            <a:ln w="127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2FFE6A7-BC56-429F-AC4E-1AFCA00AD4D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979594" y="2483442"/>
              <a:ext cx="3286389" cy="1848594"/>
            </a:xfrm>
            <a:prstGeom prst="rect">
              <a:avLst/>
            </a:prstGeom>
            <a:ln w="127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4D68B410-B885-4F93-AFB2-B2C2B15ED30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979593" y="4484140"/>
              <a:ext cx="3286389" cy="1848594"/>
            </a:xfrm>
            <a:prstGeom prst="rect">
              <a:avLst/>
            </a:prstGeom>
            <a:ln w="1270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B9793C4-84CF-4FAF-8349-517162C3FC9B}"/>
              </a:ext>
            </a:extLst>
          </p:cNvPr>
          <p:cNvSpPr txBox="1"/>
          <p:nvPr/>
        </p:nvSpPr>
        <p:spPr>
          <a:xfrm>
            <a:off x="7623314" y="223067"/>
            <a:ext cx="4194312" cy="587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/>
              <a:t>Monthly in-depth analysis at global and country lev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/>
              <a:t>Data hub converging country immunization data in a single platfor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/>
              <a:t>Global, national, regional and district level stock performance snapshots.</a:t>
            </a:r>
          </a:p>
          <a:p>
            <a:endParaRPr lang="en-GB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/>
              <a:t>Data-driven planning and decision-making at several </a:t>
            </a:r>
            <a:r>
              <a:rPr lang="en-GB" sz="1400" err="1"/>
              <a:t>iSC</a:t>
            </a:r>
            <a:r>
              <a:rPr lang="en-GB" sz="1400"/>
              <a:t> leve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/>
              <a:t>Integration and triangulation (SMT, </a:t>
            </a:r>
            <a:r>
              <a:rPr lang="en-GB" sz="1400" err="1"/>
              <a:t>eLMISs</a:t>
            </a:r>
            <a:r>
              <a:rPr lang="en-GB" sz="1400"/>
              <a:t>, WUENIC, EVM, JRF, Zero-dose, COVID19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/>
              <a:t>In-depth analysis, visualization and profi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/>
              <a:t>Monthly view of stock risky situations at national, regional, and district level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/>
              <a:t>Feedback on each report to regional and country offices and NLWGs/EOCs.</a:t>
            </a:r>
          </a:p>
          <a:p>
            <a:endParaRPr lang="en-GB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/>
              <a:t>Corrective measures, improvement track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/>
          </a:p>
        </p:txBody>
      </p:sp>
    </p:spTree>
    <p:extLst>
      <p:ext uri="{BB962C8B-B14F-4D97-AF65-F5344CB8AC3E}">
        <p14:creationId xmlns:p14="http://schemas.microsoft.com/office/powerpoint/2010/main" val="42374077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RI Vaccine Stock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F024A2-F206-4B4A-BF3F-C7B6C1B00FA7}"/>
              </a:ext>
            </a:extLst>
          </p:cNvPr>
          <p:cNvSpPr txBox="1"/>
          <p:nvPr/>
        </p:nvSpPr>
        <p:spPr>
          <a:xfrm>
            <a:off x="7527881" y="196402"/>
            <a:ext cx="4664119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/>
              <a:t>Thrive360 Stock Summaries</a:t>
            </a:r>
          </a:p>
          <a:p>
            <a:pPr algn="ctr"/>
            <a:endParaRPr lang="en-GB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/>
              <a:t>Global, country and anti-gen wise stock summaries, months of stock, stockouts and overstocking incidents on monthly basis.</a:t>
            </a:r>
          </a:p>
          <a:p>
            <a:endParaRPr lang="en-GB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/>
              <a:t>Routine immun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/>
              <a:t>Geographic level fil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0586B40-5815-4716-95FF-1DE30D8EEFAF}"/>
              </a:ext>
            </a:extLst>
          </p:cNvPr>
          <p:cNvSpPr txBox="1"/>
          <p:nvPr/>
        </p:nvSpPr>
        <p:spPr>
          <a:xfrm>
            <a:off x="711781" y="4532714"/>
            <a:ext cx="4313766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/>
              <a:t>Thrive360 Stock Trends</a:t>
            </a:r>
          </a:p>
          <a:p>
            <a:pPr algn="ctr"/>
            <a:endParaRPr lang="en-GB" b="1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/>
              <a:t>Antigen and country-wise stock performance trends.</a:t>
            </a:r>
          </a:p>
          <a:p>
            <a:endParaRPr lang="en-GB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/>
              <a:t>Ability to filter, drill-down or up and cross-fil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/>
              <a:t>A much better stock management picture compared to just monthly single point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E44BDA0-E9B2-579F-5E6F-35B8841080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4439" y="3495615"/>
            <a:ext cx="5997561" cy="3372324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2FF6569-CC29-4A4E-8868-4C2A6259C2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859" y="53164"/>
            <a:ext cx="7226918" cy="4124953"/>
          </a:xfrm>
          <a:prstGeom prst="rect">
            <a:avLst/>
          </a:prstGeom>
          <a:ln w="1270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084335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268B589-83DD-71E5-5F99-3291986F9506}"/>
              </a:ext>
            </a:extLst>
          </p:cNvPr>
          <p:cNvSpPr txBox="1"/>
          <p:nvPr/>
        </p:nvSpPr>
        <p:spPr>
          <a:xfrm>
            <a:off x="7259410" y="3948993"/>
            <a:ext cx="4949148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dirty="0"/>
              <a:t>Country should report monthly stock BCU vaccines doses </a:t>
            </a:r>
            <a:r>
              <a:rPr lang="en-US" sz="2800" dirty="0">
                <a:sym typeface="Wingdings" panose="05000000000000000000" pitchFamily="2" charset="2"/>
              </a:rPr>
              <a:t>into the same monthly mechanism as routines doses 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 Thrive360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AB98D86-7423-3CD8-6281-7666B22C76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06401"/>
            <a:ext cx="7069954" cy="516727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0A2EDB6-B78A-0C95-456B-485CEDA596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45475" y="745435"/>
            <a:ext cx="2577019" cy="2670728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3E367EB-8397-FC95-C0CF-CDC430B5FC89}"/>
              </a:ext>
            </a:extLst>
          </p:cNvPr>
          <p:cNvSpPr txBox="1"/>
          <p:nvPr/>
        </p:nvSpPr>
        <p:spPr>
          <a:xfrm>
            <a:off x="0" y="0"/>
            <a:ext cx="12192000" cy="745435"/>
          </a:xfrm>
          <a:prstGeom prst="rect">
            <a:avLst/>
          </a:prstGeom>
          <a:solidFill>
            <a:srgbClr val="00AEEF"/>
          </a:solidFill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4400" b="1"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n-US" sz="4000">
                <a:solidFill>
                  <a:schemeClr val="bg1"/>
                </a:solidFill>
              </a:rPr>
              <a:t>Immunization Stock management : Thrive360 (July 2024)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A83B568-1331-6CA4-B662-C736159C6B9C}"/>
              </a:ext>
            </a:extLst>
          </p:cNvPr>
          <p:cNvSpPr txBox="1"/>
          <p:nvPr/>
        </p:nvSpPr>
        <p:spPr>
          <a:xfrm>
            <a:off x="357352" y="6358023"/>
            <a:ext cx="620110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5"/>
              </a:rPr>
              <a:t>Thrive360 - Power B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40605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95284EF-F085-B642-BFEC-6558221F7F2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954A4AE-E29B-5F41-BABF-8148FAB5DA61}"/>
              </a:ext>
            </a:extLst>
          </p:cNvPr>
          <p:cNvSpPr/>
          <p:nvPr/>
        </p:nvSpPr>
        <p:spPr>
          <a:xfrm rot="5400000">
            <a:off x="-381002" y="381000"/>
            <a:ext cx="6858002" cy="6096001"/>
          </a:xfrm>
          <a:prstGeom prst="rect">
            <a:avLst/>
          </a:prstGeom>
          <a:gradFill>
            <a:gsLst>
              <a:gs pos="0">
                <a:schemeClr val="bg2">
                  <a:alpha val="0"/>
                </a:schemeClr>
              </a:gs>
              <a:gs pos="55000">
                <a:srgbClr val="00B0F0">
                  <a:alpha val="38000"/>
                </a:srgbClr>
              </a:gs>
              <a:gs pos="100000">
                <a:srgbClr val="00B0F0">
                  <a:alpha val="48000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4">
            <a:extLst>
              <a:ext uri="{FF2B5EF4-FFF2-40B4-BE49-F238E27FC236}">
                <a16:creationId xmlns:a16="http://schemas.microsoft.com/office/drawing/2014/main" id="{5C69FFDA-9F16-454C-97AB-72A64F656DD0}"/>
              </a:ext>
            </a:extLst>
          </p:cNvPr>
          <p:cNvSpPr txBox="1">
            <a:spLocks/>
          </p:cNvSpPr>
          <p:nvPr/>
        </p:nvSpPr>
        <p:spPr>
          <a:xfrm>
            <a:off x="838200" y="1828800"/>
            <a:ext cx="10515600" cy="26114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5400" b="1"/>
              <a:t>Thank you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1DAB3BB-4283-6B42-A2DD-9528D262783E}"/>
              </a:ext>
            </a:extLst>
          </p:cNvPr>
          <p:cNvSpPr txBox="1"/>
          <p:nvPr/>
        </p:nvSpPr>
        <p:spPr>
          <a:xfrm rot="16200000">
            <a:off x="-971550" y="4628035"/>
            <a:ext cx="232410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>
                <a:solidFill>
                  <a:schemeClr val="tx1">
                    <a:alpha val="40000"/>
                  </a:schemeClr>
                </a:solidFill>
              </a:rPr>
              <a:t>© UNICEF/UN0216133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C2645F3-2CBE-0E4F-84D0-7B8A2A28541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3578" y="293"/>
            <a:ext cx="1645920" cy="1645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446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95CB58E-73DC-01CF-6DD1-5949E0C0E46B}"/>
              </a:ext>
            </a:extLst>
          </p:cNvPr>
          <p:cNvSpPr txBox="1"/>
          <p:nvPr/>
        </p:nvSpPr>
        <p:spPr>
          <a:xfrm>
            <a:off x="591327" y="2164902"/>
            <a:ext cx="1100934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400" b="1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ig Catch up plan (BCU) 2024-2025 Supply status in WCAR</a:t>
            </a: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527649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5" name="Content Placeholder 2">
            <a:extLst>
              <a:ext uri="{FF2B5EF4-FFF2-40B4-BE49-F238E27FC236}">
                <a16:creationId xmlns:a16="http://schemas.microsoft.com/office/drawing/2014/main" id="{8C7BD43A-1ED5-0B0E-BF20-E24F8D28406C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5315" y="2336800"/>
            <a:ext cx="6298540" cy="5230651"/>
          </a:xfrm>
          <a:noFill/>
        </p:spPr>
        <p:txBody>
          <a:bodyPr>
            <a:normAutofit/>
          </a:bodyPr>
          <a:lstStyle/>
          <a:p>
            <a:r>
              <a:rPr lang="en-US" sz="3200"/>
              <a:t>16 countries submitted a BCU plan for additional doses. (85.5M doses)</a:t>
            </a:r>
          </a:p>
          <a:p>
            <a:r>
              <a:rPr lang="en-US" sz="3200"/>
              <a:t>Focus on 12 months – 59 months Zero Dose or Under-Vaccinated children.</a:t>
            </a:r>
          </a:p>
          <a:p>
            <a:r>
              <a:rPr lang="en-US" sz="3200"/>
              <a:t>Increasing  volume of vaccines to be deliver to countries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304D2F-D3E5-233A-AB73-BAC8C32A4056}"/>
              </a:ext>
            </a:extLst>
          </p:cNvPr>
          <p:cNvSpPr txBox="1"/>
          <p:nvPr/>
        </p:nvSpPr>
        <p:spPr>
          <a:xfrm>
            <a:off x="0" y="0"/>
            <a:ext cx="12192000" cy="990600"/>
          </a:xfrm>
          <a:prstGeom prst="rect">
            <a:avLst/>
          </a:prstGeom>
          <a:solidFill>
            <a:srgbClr val="00AEEF"/>
          </a:solidFill>
        </p:spPr>
        <p:txBody>
          <a:bodyPr vert="horz" lIns="91440" tIns="45720" rIns="91440" bIns="45720" rtlCol="0" anchor="ctr">
            <a:normAutofit fontScale="92500"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4400" b="1"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>
                <a:solidFill>
                  <a:schemeClr val="bg1"/>
                </a:solidFill>
              </a:rPr>
              <a:t>West &amp; Central  Africa Region  (BCU) 2024-2025- Supply Status</a:t>
            </a:r>
            <a:endParaRPr lang="en-US" sz="4000" b="1" kern="120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19737D2-876C-1CF3-66CD-6456F90964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9977" y="1260575"/>
            <a:ext cx="4756223" cy="5170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4584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5" name="Content Placeholder 2">
            <a:extLst>
              <a:ext uri="{FF2B5EF4-FFF2-40B4-BE49-F238E27FC236}">
                <a16:creationId xmlns:a16="http://schemas.microsoft.com/office/drawing/2014/main" id="{8C7BD43A-1ED5-0B0E-BF20-E24F8D28406C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5315" y="1353768"/>
            <a:ext cx="6298540" cy="6213684"/>
          </a:xfrm>
          <a:noFill/>
        </p:spPr>
        <p:txBody>
          <a:bodyPr>
            <a:normAutofit/>
          </a:bodyPr>
          <a:lstStyle/>
          <a:p>
            <a:r>
              <a:rPr lang="en-US" sz="3200"/>
              <a:t>5 countries submitted a BCU plan for additional doses. (54.5M doses)</a:t>
            </a:r>
          </a:p>
          <a:p>
            <a:r>
              <a:rPr lang="en-US" sz="3200"/>
              <a:t>Focus on 12 months – 59 months Zero Dose or Under-Vaccinated children.</a:t>
            </a:r>
          </a:p>
          <a:p>
            <a:r>
              <a:rPr lang="en-US" sz="3200"/>
              <a:t>Increasing the volume of vaccines and vaccine arrival in country.</a:t>
            </a:r>
          </a:p>
          <a:p>
            <a:r>
              <a:rPr lang="en-US" sz="3200"/>
              <a:t>       Devices : syringes and safety box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304D2F-D3E5-233A-AB73-BAC8C32A4056}"/>
              </a:ext>
            </a:extLst>
          </p:cNvPr>
          <p:cNvSpPr txBox="1"/>
          <p:nvPr/>
        </p:nvSpPr>
        <p:spPr>
          <a:xfrm>
            <a:off x="0" y="0"/>
            <a:ext cx="12192000" cy="990600"/>
          </a:xfrm>
          <a:prstGeom prst="rect">
            <a:avLst/>
          </a:prstGeom>
          <a:solidFill>
            <a:srgbClr val="00AEEF"/>
          </a:solidFill>
        </p:spPr>
        <p:txBody>
          <a:bodyPr vert="horz" lIns="91440" tIns="45720" rIns="91440" bIns="45720" rtlCol="0" anchor="ctr">
            <a:normAutofit fontScale="92500" lnSpcReduction="20000"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4400" b="1"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>
                <a:solidFill>
                  <a:schemeClr val="bg1"/>
                </a:solidFill>
              </a:rPr>
              <a:t>Central Africa Region - Essential Immunization Recovery plan (BCU) 2024-2025</a:t>
            </a:r>
            <a:endParaRPr lang="en-US" sz="4000" b="1" kern="120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BB02ACD-24AB-7781-0424-06455E6A3B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3855" y="1353767"/>
            <a:ext cx="5249668" cy="5094658"/>
          </a:xfrm>
          <a:prstGeom prst="rect">
            <a:avLst/>
          </a:prstGeom>
        </p:spPr>
      </p:pic>
      <p:pic>
        <p:nvPicPr>
          <p:cNvPr id="2" name="Graphic 1" descr="Warning with solid fill">
            <a:extLst>
              <a:ext uri="{FF2B5EF4-FFF2-40B4-BE49-F238E27FC236}">
                <a16:creationId xmlns:a16="http://schemas.microsoft.com/office/drawing/2014/main" id="{4F7E6CE0-2028-FBCE-A25D-5C5B21B1E7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3995" y="4703637"/>
            <a:ext cx="670147" cy="670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9883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EE304D2F-D3E5-233A-AB73-BAC8C32A4056}"/>
              </a:ext>
            </a:extLst>
          </p:cNvPr>
          <p:cNvSpPr txBox="1"/>
          <p:nvPr/>
        </p:nvSpPr>
        <p:spPr>
          <a:xfrm>
            <a:off x="0" y="0"/>
            <a:ext cx="12192000" cy="990600"/>
          </a:xfrm>
          <a:prstGeom prst="rect">
            <a:avLst/>
          </a:prstGeom>
          <a:solidFill>
            <a:srgbClr val="00AEEF"/>
          </a:solidFill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4400" b="1"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n-US" sz="4000">
                <a:solidFill>
                  <a:schemeClr val="bg1"/>
                </a:solidFill>
              </a:rPr>
              <a:t>Central Africa Region – BCU (Sep 02, 2025)</a:t>
            </a:r>
            <a:endParaRPr lang="en-US" sz="4000" b="1" kern="120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28CFD6C-A3EB-7EED-672C-AA8174A5DF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112" y="3998887"/>
            <a:ext cx="11699392" cy="209698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756AB86-2420-A34F-63D3-D3A929921A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112" y="1196371"/>
            <a:ext cx="11699392" cy="280251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993716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EE304D2F-D3E5-233A-AB73-BAC8C32A4056}"/>
              </a:ext>
            </a:extLst>
          </p:cNvPr>
          <p:cNvSpPr txBox="1"/>
          <p:nvPr/>
        </p:nvSpPr>
        <p:spPr>
          <a:xfrm>
            <a:off x="0" y="0"/>
            <a:ext cx="12192000" cy="990600"/>
          </a:xfrm>
          <a:prstGeom prst="rect">
            <a:avLst/>
          </a:prstGeom>
          <a:solidFill>
            <a:srgbClr val="00AEEF"/>
          </a:solidFill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4400" b="1"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n-US" sz="4000">
                <a:solidFill>
                  <a:schemeClr val="bg1"/>
                </a:solidFill>
              </a:rPr>
              <a:t>Central Region – BCU (Sep 02, 2025)</a:t>
            </a:r>
            <a:endParaRPr lang="en-US" sz="4000" b="1" kern="120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CA35E61F-C162-1B04-7F68-9213718308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394" y="1124860"/>
            <a:ext cx="11752782" cy="68198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94BF235B-69DA-EA0A-8AA9-4C3D8D5B6E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8393" y="1806839"/>
            <a:ext cx="11752781" cy="1530665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79E268FE-7DE3-0372-0D4D-F487EA8BAEF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8390" y="3330959"/>
            <a:ext cx="11752781" cy="92446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BA060C7-6F08-F2D8-5958-94053BE451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8630" y="4204040"/>
            <a:ext cx="11752781" cy="1263066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048617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0715FD0-E1A0-CEA8-7463-6EA47C6E2D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3855" y="1353767"/>
            <a:ext cx="5249668" cy="509465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E304D2F-D3E5-233A-AB73-BAC8C32A4056}"/>
              </a:ext>
            </a:extLst>
          </p:cNvPr>
          <p:cNvSpPr txBox="1"/>
          <p:nvPr/>
        </p:nvSpPr>
        <p:spPr>
          <a:xfrm>
            <a:off x="0" y="0"/>
            <a:ext cx="12192000" cy="990600"/>
          </a:xfrm>
          <a:prstGeom prst="rect">
            <a:avLst/>
          </a:prstGeom>
          <a:solidFill>
            <a:srgbClr val="00AEEF"/>
          </a:solidFill>
        </p:spPr>
        <p:txBody>
          <a:bodyPr vert="horz" lIns="91440" tIns="45720" rIns="91440" bIns="45720" rtlCol="0" anchor="ctr">
            <a:normAutofit fontScale="92500"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4400" b="1"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>
                <a:solidFill>
                  <a:schemeClr val="bg1"/>
                </a:solidFill>
              </a:rPr>
              <a:t>Central Region -  (BCU) 2024-2025- Vaccines delivery lead time</a:t>
            </a:r>
            <a:endParaRPr lang="en-US" sz="4000" b="1" kern="120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9B7DACC9-D0B8-49B6-0E05-771DB5C64809}"/>
              </a:ext>
            </a:extLst>
          </p:cNvPr>
          <p:cNvSpPr txBox="1">
            <a:spLocks/>
          </p:cNvSpPr>
          <p:nvPr/>
        </p:nvSpPr>
        <p:spPr>
          <a:xfrm>
            <a:off x="286807" y="3156172"/>
            <a:ext cx="4053166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 cap="all" baseline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INDICATIVE LEAD TIM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32F7269-3AC0-8C13-D5F1-EA77EBBE52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6807" y="3526322"/>
            <a:ext cx="7470845" cy="1752764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C7E54CD-249A-03CA-8646-D17B0C6C0F6A}"/>
              </a:ext>
            </a:extLst>
          </p:cNvPr>
          <p:cNvSpPr txBox="1">
            <a:spLocks noGrp="1"/>
          </p:cNvSpPr>
          <p:nvPr>
            <p:ph sz="half" idx="4294967295"/>
          </p:nvPr>
        </p:nvSpPr>
        <p:spPr>
          <a:xfrm>
            <a:off x="559611" y="1358969"/>
            <a:ext cx="6299200" cy="12557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800" dirty="0"/>
              <a:t>No BCU implementation before validation of the shipment plan for Vaccines and Syringes </a:t>
            </a:r>
          </a:p>
        </p:txBody>
      </p:sp>
    </p:spTree>
    <p:extLst>
      <p:ext uri="{BB962C8B-B14F-4D97-AF65-F5344CB8AC3E}">
        <p14:creationId xmlns:p14="http://schemas.microsoft.com/office/powerpoint/2010/main" val="32363993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5" name="Content Placeholder 2">
            <a:extLst>
              <a:ext uri="{FF2B5EF4-FFF2-40B4-BE49-F238E27FC236}">
                <a16:creationId xmlns:a16="http://schemas.microsoft.com/office/drawing/2014/main" id="{8C7BD43A-1ED5-0B0E-BF20-E24F8D28406C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65314" y="1311564"/>
            <a:ext cx="7428306" cy="6255887"/>
          </a:xfrm>
          <a:noFill/>
        </p:spPr>
        <p:txBody>
          <a:bodyPr>
            <a:normAutofit/>
          </a:bodyPr>
          <a:lstStyle/>
          <a:p>
            <a:r>
              <a:rPr lang="en-US" sz="3200"/>
              <a:t>11 countries submitted a BCU plan for additional doses. (31M doses)</a:t>
            </a:r>
          </a:p>
          <a:p>
            <a:r>
              <a:rPr lang="en-US" sz="3200"/>
              <a:t>Focus on 12 months – 59 months Zero Dose or Under-Vaccinated children.</a:t>
            </a:r>
          </a:p>
          <a:p>
            <a:r>
              <a:rPr lang="en-US" sz="3200"/>
              <a:t>Increasing the volume of vaccines and vaccine arrival in country.</a:t>
            </a:r>
          </a:p>
          <a:p>
            <a:r>
              <a:rPr lang="en-US" sz="3200"/>
              <a:t>       Devices : syringes and safety box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304D2F-D3E5-233A-AB73-BAC8C32A4056}"/>
              </a:ext>
            </a:extLst>
          </p:cNvPr>
          <p:cNvSpPr txBox="1"/>
          <p:nvPr/>
        </p:nvSpPr>
        <p:spPr>
          <a:xfrm>
            <a:off x="0" y="0"/>
            <a:ext cx="12192000" cy="990600"/>
          </a:xfrm>
          <a:prstGeom prst="rect">
            <a:avLst/>
          </a:prstGeom>
          <a:solidFill>
            <a:srgbClr val="00AEEF"/>
          </a:solidFill>
        </p:spPr>
        <p:txBody>
          <a:bodyPr vert="horz" lIns="91440" tIns="45720" rIns="91440" bIns="45720" rtlCol="0" anchor="ctr">
            <a:normAutofit/>
          </a:bodyPr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4400" b="1"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US" sz="4000">
                <a:solidFill>
                  <a:schemeClr val="bg1"/>
                </a:solidFill>
              </a:rPr>
              <a:t>West Africa Region -  (BCU) 2024-2025 -Supply Status</a:t>
            </a:r>
            <a:endParaRPr lang="en-US" sz="4000" b="1" kern="120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16B2EA3-267B-E610-FBCC-C2F7DDEF45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9114" y="1240377"/>
            <a:ext cx="5402886" cy="4632405"/>
          </a:xfrm>
          <a:prstGeom prst="rect">
            <a:avLst/>
          </a:prstGeom>
        </p:spPr>
      </p:pic>
      <p:pic>
        <p:nvPicPr>
          <p:cNvPr id="3" name="Graphic 2" descr="Warning with solid fill">
            <a:extLst>
              <a:ext uri="{FF2B5EF4-FFF2-40B4-BE49-F238E27FC236}">
                <a16:creationId xmlns:a16="http://schemas.microsoft.com/office/drawing/2014/main" id="{D7BF2EE5-363A-55B1-5C5D-0AD59935D90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7402" y="4176863"/>
            <a:ext cx="670147" cy="670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8511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NICEF">
  <a:themeElements>
    <a:clrScheme name="Hyperlink 1">
      <a:dk1>
        <a:srgbClr val="000000"/>
      </a:dk1>
      <a:lt1>
        <a:srgbClr val="FFFFFF"/>
      </a:lt1>
      <a:dk2>
        <a:srgbClr val="00AEEF"/>
      </a:dk2>
      <a:lt2>
        <a:srgbClr val="FFFFFF"/>
      </a:lt2>
      <a:accent1>
        <a:srgbClr val="00AEEF"/>
      </a:accent1>
      <a:accent2>
        <a:srgbClr val="D8D1CA"/>
      </a:accent2>
      <a:accent3>
        <a:srgbClr val="A5A5A5"/>
      </a:accent3>
      <a:accent4>
        <a:srgbClr val="777779"/>
      </a:accent4>
      <a:accent5>
        <a:srgbClr val="777779"/>
      </a:accent5>
      <a:accent6>
        <a:srgbClr val="777779"/>
      </a:accent6>
      <a:hlink>
        <a:srgbClr val="FEFFFF"/>
      </a:hlink>
      <a:folHlink>
        <a:srgbClr val="77777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NICEF" id="{DC7E091F-5C61-164F-91C7-2F09F2954CB8}" vid="{C41438D2-28A2-DE4E-ADFC-EB271601B2D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UNICEF">
  <a:themeElements>
    <a:clrScheme name="Hyperlink 1">
      <a:dk1>
        <a:srgbClr val="000000"/>
      </a:dk1>
      <a:lt1>
        <a:srgbClr val="FFFFFF"/>
      </a:lt1>
      <a:dk2>
        <a:srgbClr val="00AEEF"/>
      </a:dk2>
      <a:lt2>
        <a:srgbClr val="FFFFFF"/>
      </a:lt2>
      <a:accent1>
        <a:srgbClr val="00AEEF"/>
      </a:accent1>
      <a:accent2>
        <a:srgbClr val="D8D1CA"/>
      </a:accent2>
      <a:accent3>
        <a:srgbClr val="A5A5A5"/>
      </a:accent3>
      <a:accent4>
        <a:srgbClr val="777779"/>
      </a:accent4>
      <a:accent5>
        <a:srgbClr val="777779"/>
      </a:accent5>
      <a:accent6>
        <a:srgbClr val="777779"/>
      </a:accent6>
      <a:hlink>
        <a:srgbClr val="FEFFFF"/>
      </a:hlink>
      <a:folHlink>
        <a:srgbClr val="77777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NICEF" id="{DC7E091F-5C61-164F-91C7-2F09F2954CB8}" vid="{C41438D2-28A2-DE4E-ADFC-EB271601B2D1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ga975397408f43e4b84ec8e5a598e523 xmlns="ca283e0b-db31-4043-a2ef-b80661bf084a">
      <Terms xmlns="http://schemas.microsoft.com/office/infopath/2007/PartnerControls">
        <TermInfo xmlns="http://schemas.microsoft.com/office/infopath/2007/PartnerControls">
          <TermName xmlns="http://schemas.microsoft.com/office/infopath/2007/PartnerControls">Division of Communication-456G</TermName>
          <TermId xmlns="http://schemas.microsoft.com/office/infopath/2007/PartnerControls">48d7ec51-1223-45a5-bbd8-01149395ec76</TermId>
        </TermInfo>
      </Terms>
    </ga975397408f43e4b84ec8e5a598e523>
    <TaxCatchAll xmlns="ca283e0b-db31-4043-a2ef-b80661bf084a">
      <Value>397</Value>
      <Value>396</Value>
      <Value>9</Value>
    </TaxCatchAll>
    <k8c968e8c72a4eda96b7e8fdbe192be2 xmlns="ca283e0b-db31-4043-a2ef-b80661bf084a">
      <Terms xmlns="http://schemas.microsoft.com/office/infopath/2007/PartnerControls"/>
    </k8c968e8c72a4eda96b7e8fdbe192be2>
    <DateTransmittedEmail xmlns="ca283e0b-db31-4043-a2ef-b80661bf084a" xsi:nil="true"/>
    <ContentStatus xmlns="ca283e0b-db31-4043-a2ef-b80661bf084a" xsi:nil="true"/>
    <SenderEmail xmlns="ca283e0b-db31-4043-a2ef-b80661bf084a" xsi:nil="true"/>
    <IconOverlay xmlns="http://schemas.microsoft.com/sharepoint/v4" xsi:nil="true"/>
    <ContentLanguage xmlns="ca283e0b-db31-4043-a2ef-b80661bf084a">English</ContentLanguage>
    <h6a71f3e574e4344bc34f3fc9dd20054 xmlns="ca283e0b-db31-4043-a2ef-b80661bf084a">
      <Terms xmlns="http://schemas.microsoft.com/office/infopath/2007/PartnerControls">
        <TermInfo xmlns="http://schemas.microsoft.com/office/infopath/2007/PartnerControls">
          <TermName xmlns="http://schemas.microsoft.com/office/infopath/2007/PartnerControls">n/a</TermName>
          <TermId xmlns="http://schemas.microsoft.com/office/infopath/2007/PartnerControls">62fe7219-0ec3-42ac-964d-70ae5d8291bb</TermId>
        </TermInfo>
      </Terms>
    </h6a71f3e574e4344bc34f3fc9dd20054>
    <CategoryDescription xmlns="http://schemas.microsoft.com/sharepoint.v3" xsi:nil="true"/>
    <RecipientsEmail xmlns="ca283e0b-db31-4043-a2ef-b80661bf084a" xsi:nil="true"/>
    <mda26ace941f4791a7314a339fee829c xmlns="ca283e0b-db31-4043-a2ef-b80661bf084a">
      <Terms xmlns="http://schemas.microsoft.com/office/infopath/2007/PartnerControls">
        <TermInfo xmlns="http://schemas.microsoft.com/office/infopath/2007/PartnerControls">
          <TermName xmlns="http://schemas.microsoft.com/office/infopath/2007/PartnerControls">Visual design and branding guidelines</TermName>
          <TermId xmlns="http://schemas.microsoft.com/office/infopath/2007/PartnerControls">ed9661bd-7ccc-41d4-9af8-6abfbfed620c</TermId>
        </TermInfo>
      </Terms>
    </mda26ace941f4791a7314a339fee829c>
    <WrittenBy xmlns="ca283e0b-db31-4043-a2ef-b80661bf084a">
      <UserInfo>
        <DisplayName/>
        <AccountId xsi:nil="true"/>
        <AccountType/>
      </UserInfo>
    </WrittenBy>
    <j169e817e0ee4eb8974e6fc4a2762909 xmlns="ca283e0b-db31-4043-a2ef-b80661bf084a">
      <Terms xmlns="http://schemas.microsoft.com/office/infopath/2007/PartnerControls"/>
    </j169e817e0ee4eb8974e6fc4a2762909>
    <j048a4f9aaad4a8990a1d5e5f53cb451 xmlns="ca283e0b-db31-4043-a2ef-b80661bf084a">
      <Terms xmlns="http://schemas.microsoft.com/office/infopath/2007/PartnerControls"/>
    </j048a4f9aaad4a8990a1d5e5f53cb451>
    <TaxKeywordTaxHTField xmlns="380bcc00-27e3-4e98-84f3-503a56210dde">
      <Terms xmlns="http://schemas.microsoft.com/office/infopath/2007/PartnerControls"/>
    </TaxKeywordTaxHTField>
    <SharedWithUsers xmlns="380bcc00-27e3-4e98-84f3-503a56210dde">
      <UserInfo>
        <DisplayName>Stephanie Lapiere</DisplayName>
        <AccountId>5376</AccountId>
        <AccountType/>
      </UserInfo>
    </SharedWithUsers>
    <SemaphoreItemMetadata xmlns="380bcc00-27e3-4e98-84f3-503a56210dde">{"ClassificationOrdered":false,"ClassificationRequested":"2021-03-05T21:49:24.8656383Z","Columns":[],"HasBodyChanged":true,"HasPendingClassification":false,"IsUpdate":false,"IsUploading":false,"ShouldCancel":false,"SkipClassification":false,"ShouldDelay":false}</SemaphoreItemMetadata>
    <_dlc_DocId xmlns="380bcc00-27e3-4e98-84f3-503a56210dde">WCARSUPPLY-2136669008-97151</_dlc_DocId>
    <_dlc_DocIdUrl xmlns="380bcc00-27e3-4e98-84f3-503a56210dde">
      <Url>https://unicef.sharepoint.com/teams/WCAR-Supply/_layouts/15/DocIdRedir.aspx?ID=WCARSUPPLY-2136669008-97151</Url>
      <Description>WCARSUPPLY-2136669008-97151</Description>
    </_dlc_DocIdUrl>
    <lcf76f155ced4ddcb4097134ff3c332f xmlns="21f97c46-7f89-4632-9b99-950325101dfe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UNICEF Document" ma:contentTypeID="0x0101009BA85F8052A6DA4FA3E31FF9F74C697000E104A2283C832B43877ABEE24D60F242" ma:contentTypeVersion="62" ma:contentTypeDescription="Create a new document." ma:contentTypeScope="" ma:versionID="254cf1e0ae86c563f43b7b376adb0e1f">
  <xsd:schema xmlns:xsd="http://www.w3.org/2001/XMLSchema" xmlns:xs="http://www.w3.org/2001/XMLSchema" xmlns:p="http://schemas.microsoft.com/office/2006/metadata/properties" xmlns:ns1="http://schemas.microsoft.com/sharepoint/v3" xmlns:ns2="ca283e0b-db31-4043-a2ef-b80661bf084a" xmlns:ns3="http://schemas.microsoft.com/sharepoint.v3" xmlns:ns4="380bcc00-27e3-4e98-84f3-503a56210dde" xmlns:ns5="21f97c46-7f89-4632-9b99-950325101dfe" xmlns:ns6="http://schemas.microsoft.com/sharepoint/v4" targetNamespace="http://schemas.microsoft.com/office/2006/metadata/properties" ma:root="true" ma:fieldsID="ecabcead0c823906915d9999e152df4e" ns1:_="" ns2:_="" ns3:_="" ns4:_="" ns5:_="" ns6:_="">
    <xsd:import namespace="http://schemas.microsoft.com/sharepoint/v3"/>
    <xsd:import namespace="ca283e0b-db31-4043-a2ef-b80661bf084a"/>
    <xsd:import namespace="http://schemas.microsoft.com/sharepoint.v3"/>
    <xsd:import namespace="380bcc00-27e3-4e98-84f3-503a56210dde"/>
    <xsd:import namespace="21f97c46-7f89-4632-9b99-950325101dfe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WrittenBy" minOccurs="0"/>
                <xsd:element ref="ns2:ContentLanguage" minOccurs="0"/>
                <xsd:element ref="ns3:CategoryDescription" minOccurs="0"/>
                <xsd:element ref="ns2:RecipientsEmail" minOccurs="0"/>
                <xsd:element ref="ns2:SenderEmail" minOccurs="0"/>
                <xsd:element ref="ns2:DateTransmittedEmail" minOccurs="0"/>
                <xsd:element ref="ns2:k8c968e8c72a4eda96b7e8fdbe192be2" minOccurs="0"/>
                <xsd:element ref="ns2:ga975397408f43e4b84ec8e5a598e523" minOccurs="0"/>
                <xsd:element ref="ns2:mda26ace941f4791a7314a339fee829c" minOccurs="0"/>
                <xsd:element ref="ns2:TaxCatchAllLabel" minOccurs="0"/>
                <xsd:element ref="ns2:TaxCatchAll" minOccurs="0"/>
                <xsd:element ref="ns2:h6a71f3e574e4344bc34f3fc9dd20054" minOccurs="0"/>
                <xsd:element ref="ns2:ContentStatus" minOccurs="0"/>
                <xsd:element ref="ns2:j169e817e0ee4eb8974e6fc4a2762909" minOccurs="0"/>
                <xsd:element ref="ns2:j048a4f9aaad4a8990a1d5e5f53cb451" minOccurs="0"/>
                <xsd:element ref="ns5:MediaServiceMetadata" minOccurs="0"/>
                <xsd:element ref="ns5:MediaServiceFastMetadata" minOccurs="0"/>
                <xsd:element ref="ns5:MediaServiceAutoKeyPoints" minOccurs="0"/>
                <xsd:element ref="ns5:MediaServiceKeyPoints" minOccurs="0"/>
                <xsd:element ref="ns4:SharedWithUsers" minOccurs="0"/>
                <xsd:element ref="ns4:SharedWithDetails" minOccurs="0"/>
                <xsd:element ref="ns5:MediaServiceDateTaken" minOccurs="0"/>
                <xsd:element ref="ns6:IconOverlay" minOccurs="0"/>
                <xsd:element ref="ns1:_vti_ItemDeclaredRecord" minOccurs="0"/>
                <xsd:element ref="ns4:TaxKeywordTaxHTField" minOccurs="0"/>
                <xsd:element ref="ns1:_vti_ItemHoldRecordStatus" minOccurs="0"/>
                <xsd:element ref="ns4:_dlc_DocId" minOccurs="0"/>
                <xsd:element ref="ns4:_dlc_DocIdUrl" minOccurs="0"/>
                <xsd:element ref="ns4:_dlc_DocIdPersistId" minOccurs="0"/>
                <xsd:element ref="ns4:SemaphoreItemMetadata" minOccurs="0"/>
                <xsd:element ref="ns5:MediaServiceAutoTags" minOccurs="0"/>
                <xsd:element ref="ns5:MediaServiceGenerationTime" minOccurs="0"/>
                <xsd:element ref="ns5:MediaServiceEventHashCode" minOccurs="0"/>
                <xsd:element ref="ns5:MediaServiceLocation" minOccurs="0"/>
                <xsd:element ref="ns5:MediaServiceOCR" minOccurs="0"/>
                <xsd:element ref="ns5:MediaLengthInSeconds" minOccurs="0"/>
                <xsd:element ref="ns5:lcf76f155ced4ddcb4097134ff3c332f" minOccurs="0"/>
                <xsd:element ref="ns5:MediaServiceObjectDetectorVersions" minOccurs="0"/>
                <xsd:element ref="ns5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vti_ItemDeclaredRecord" ma:index="39" nillable="true" ma:displayName="Declared Record" ma:hidden="true" ma:internalName="_vti_ItemDeclaredRecord" ma:readOnly="true">
      <xsd:simpleType>
        <xsd:restriction base="dms:DateTime"/>
      </xsd:simpleType>
    </xsd:element>
    <xsd:element name="_vti_ItemHoldRecordStatus" ma:index="41" nillable="true" ma:displayName="Hold and Record Status" ma:decimals="0" ma:description="" ma:hidden="true" ma:indexed="true" ma:internalName="_vti_ItemHoldRecordStatu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283e0b-db31-4043-a2ef-b80661bf084a" elementFormDefault="qualified">
    <xsd:import namespace="http://schemas.microsoft.com/office/2006/documentManagement/types"/>
    <xsd:import namespace="http://schemas.microsoft.com/office/infopath/2007/PartnerControls"/>
    <xsd:element name="WrittenBy" ma:index="3" nillable="true" ma:displayName="Written By" ma:description="‘Written By’ is auto-completed with the name of the uploader, but can be edited if you are uploading on behalf of someone else." ma:list="UserInfo" ma:SharePointGroup="0" ma:internalName="WrittenBy" ma:readOnly="fals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ContentLanguage" ma:index="4" nillable="true" ma:displayName="Content Language *" ma:default="English" ma:format="RadioButtons" ma:indexed="true" ma:internalName="ContentLanguage">
      <xsd:simpleType>
        <xsd:restriction base="dms:Choice">
          <xsd:enumeration value="English"/>
          <xsd:enumeration value="French"/>
          <xsd:enumeration value="Spanish"/>
          <xsd:enumeration value="Russian"/>
          <xsd:enumeration value="Chinese"/>
          <xsd:enumeration value="Arabic"/>
          <xsd:enumeration value="other"/>
        </xsd:restriction>
      </xsd:simpleType>
    </xsd:element>
    <xsd:element name="RecipientsEmail" ma:index="9" nillable="true" ma:displayName="Recipients (email)" ma:hidden="true" ma:internalName="RecipientsEmail" ma:readOnly="false">
      <xsd:simpleType>
        <xsd:restriction base="dms:Text">
          <xsd:maxLength value="255"/>
        </xsd:restriction>
      </xsd:simpleType>
    </xsd:element>
    <xsd:element name="SenderEmail" ma:index="10" nillable="true" ma:displayName="Sender (email)" ma:hidden="true" ma:internalName="SenderEmail" ma:readOnly="false">
      <xsd:simpleType>
        <xsd:restriction base="dms:Text">
          <xsd:maxLength value="255"/>
        </xsd:restriction>
      </xsd:simpleType>
    </xsd:element>
    <xsd:element name="DateTransmittedEmail" ma:index="11" nillable="true" ma:displayName="Date transmitted (email)" ma:format="DateTime" ma:hidden="true" ma:internalName="DateTransmittedEmail" ma:readOnly="false">
      <xsd:simpleType>
        <xsd:restriction base="dms:DateTime"/>
      </xsd:simpleType>
    </xsd:element>
    <xsd:element name="k8c968e8c72a4eda96b7e8fdbe192be2" ma:index="12" nillable="true" ma:taxonomy="true" ma:internalName="k8c968e8c72a4eda96b7e8fdbe192be2" ma:taxonomyFieldName="GeographicScope" ma:displayName="Geographic Scope" ma:default="" ma:fieldId="{48c968e8-c72a-4eda-96b7-e8fdbe192be2}" ma:taxonomyMulti="true" ma:sspId="73f51738-d318-4883-9d64-4f0bd0ccc55e" ma:termSetId="0a00fedf-defc-4fe3-a3bf-9929b29a638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a975397408f43e4b84ec8e5a598e523" ma:index="16" nillable="true" ma:taxonomy="true" ma:internalName="ga975397408f43e4b84ec8e5a598e523" ma:taxonomyFieldName="OfficeDivision" ma:displayName="Office/Division *" ma:default="182;#WCARO, Senegal-381R|9457ef44-ef23-492b-a8cb-2710cadf8e20" ma:fieldId="{0a975397-408f-43e4-b84e-c8e5a598e523}" ma:sspId="73f51738-d318-4883-9d64-4f0bd0ccc55e" ma:termSetId="1761a25e-44f4-4213-964a-f96c515e12c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da26ace941f4791a7314a339fee829c" ma:index="17" nillable="true" ma:taxonomy="true" ma:internalName="mda26ace941f4791a7314a339fee829c" ma:taxonomyFieldName="DocumentType" ma:displayName="Document Type *" ma:indexed="true" ma:default="" ma:fieldId="{6da26ace-941f-4791-a731-4a339fee829c}" ma:sspId="73f51738-d318-4883-9d64-4f0bd0ccc55e" ma:termSetId="f93b6877-8902-4378-8587-5ec85f36ead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Label" ma:index="18" nillable="true" ma:displayName="Taxonomy Catch All Column1" ma:hidden="true" ma:list="{34c9b480-9ac2-4bcd-be48-3ad9d51504f0}" ma:internalName="TaxCatchAllLabel" ma:readOnly="true" ma:showField="CatchAllDataLabel" ma:web="380bcc00-27e3-4e98-84f3-503a56210d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" ma:index="22" nillable="true" ma:displayName="Taxonomy Catch All Column" ma:hidden="true" ma:list="{34c9b480-9ac2-4bcd-be48-3ad9d51504f0}" ma:internalName="TaxCatchAll" ma:showField="CatchAllData" ma:web="380bcc00-27e3-4e98-84f3-503a56210d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h6a71f3e574e4344bc34f3fc9dd20054" ma:index="23" nillable="true" ma:taxonomy="true" ma:internalName="h6a71f3e574e4344bc34f3fc9dd20054" ma:taxonomyFieldName="Topic" ma:displayName="Topic *" ma:default="" ma:fieldId="{16a71f3e-574e-4344-bc34-f3fc9dd20054}" ma:taxonomyMulti="true" ma:sspId="73f51738-d318-4883-9d64-4f0bd0ccc55e" ma:termSetId="9561e0e6-71cf-4f3c-87c3-08a6b5d907e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ontentStatus" ma:index="25" nillable="true" ma:displayName="Content Status" ma:description="Optional column to indicate document status: no status, draft, final or expired.​" ma:format="RadioButtons" ma:internalName="ContentStatus">
      <xsd:simpleType>
        <xsd:restriction base="dms:Choice">
          <xsd:enumeration value="­"/>
          <xsd:enumeration value="Draft"/>
          <xsd:enumeration value="Final"/>
          <xsd:enumeration value="Expired"/>
        </xsd:restriction>
      </xsd:simpleType>
    </xsd:element>
    <xsd:element name="j169e817e0ee4eb8974e6fc4a2762909" ma:index="26" nillable="true" ma:taxonomy="true" ma:internalName="j169e817e0ee4eb8974e6fc4a2762909" ma:taxonomyFieldName="CriticalForLongTermRetention" ma:displayName="Critical for long-term retention?" ma:default="" ma:fieldId="{3169e817-e0ee-4eb8-974e-6fc4a2762909}" ma:sspId="73f51738-d318-4883-9d64-4f0bd0ccc55e" ma:termSetId="59f85175-3dbf-4592-9c1d-453af9da4e8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048a4f9aaad4a8990a1d5e5f53cb451" ma:index="28" nillable="true" ma:taxonomy="true" ma:internalName="j048a4f9aaad4a8990a1d5e5f53cb451" ma:taxonomyFieldName="SystemDTAC" ma:displayName="System-DT-AC" ma:default="" ma:fieldId="{3048a4f9-aaad-4a89-90a1-d5e5f53cb451}" ma:sspId="73f51738-d318-4883-9d64-4f0bd0ccc55e" ma:termSetId="1e3381f3-a35f-499a-9a3c-017e5423e02a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.v3" elementFormDefault="qualified">
    <xsd:import namespace="http://schemas.microsoft.com/office/2006/documentManagement/types"/>
    <xsd:import namespace="http://schemas.microsoft.com/office/infopath/2007/PartnerControls"/>
    <xsd:element name="CategoryDescription" ma:index="6" nillable="true" ma:displayName="Description" ma:internalName="CategoryDescription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0bcc00-27e3-4e98-84f3-503a56210dde" elementFormDefault="qualified">
    <xsd:import namespace="http://schemas.microsoft.com/office/2006/documentManagement/types"/>
    <xsd:import namespace="http://schemas.microsoft.com/office/infopath/2007/PartnerControls"/>
    <xsd:element name="SharedWithUsers" ma:index="3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KeywordTaxHTField" ma:index="40" nillable="true" ma:taxonomy="true" ma:internalName="TaxKeywordTaxHTField" ma:taxonomyFieldName="TaxKeyword" ma:displayName="Enterprise Keywords" ma:fieldId="{23f27201-bee3-471e-b2e7-b64fd8b7ca38}" ma:taxonomyMulti="true" ma:sspId="73f51738-d318-4883-9d64-4f0bd0ccc55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_dlc_DocId" ma:index="42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43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44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emaphoreItemMetadata" ma:index="45" nillable="true" ma:displayName="Semaphore Status" ma:hidden="true" ma:internalName="SemaphoreItemMetadata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f97c46-7f89-4632-9b99-950325101df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3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3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3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3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37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46" nillable="true" ma:displayName="Tags" ma:internalName="MediaServiceAutoTags" ma:readOnly="true">
      <xsd:simpleType>
        <xsd:restriction base="dms:Text"/>
      </xsd:simpleType>
    </xsd:element>
    <xsd:element name="MediaServiceGenerationTime" ma:index="4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4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49" nillable="true" ma:displayName="Location" ma:internalName="MediaServiceLocation" ma:readOnly="true">
      <xsd:simpleType>
        <xsd:restriction base="dms:Text"/>
      </xsd:simpleType>
    </xsd:element>
    <xsd:element name="MediaServiceOCR" ma:index="5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51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53" nillable="true" ma:taxonomy="true" ma:internalName="lcf76f155ced4ddcb4097134ff3c332f" ma:taxonomyFieldName="MediaServiceImageTags" ma:displayName="Image Tags" ma:readOnly="false" ma:fieldId="{5cf76f15-5ced-4ddc-b409-7134ff3c332f}" ma:taxonomyMulti="true" ma:sspId="73f51738-d318-4883-9d64-4f0bd0ccc55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5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5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38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5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6.xml><?xml version="1.0" encoding="utf-8"?>
<?mso-contentType ?>
<SharedContentType xmlns="Microsoft.SharePoint.Taxonomy.ContentTypeSync" SourceId="73f51738-d318-4883-9d64-4f0bd0ccc55e" ContentTypeId="0x0101009BA85F8052A6DA4FA3E31FF9F74C6970" PreviousValue="false"/>
</file>

<file path=customXml/itemProps1.xml><?xml version="1.0" encoding="utf-8"?>
<ds:datastoreItem xmlns:ds="http://schemas.openxmlformats.org/officeDocument/2006/customXml" ds:itemID="{73CE749A-9E1F-4F48-BB92-358D02E0265C}">
  <ds:schemaRefs>
    <ds:schemaRef ds:uri="http://purl.org/dc/dcmitype/"/>
    <ds:schemaRef ds:uri="http://schemas.microsoft.com/sharepoint/v4"/>
    <ds:schemaRef ds:uri="http://schemas.microsoft.com/office/infopath/2007/PartnerControls"/>
    <ds:schemaRef ds:uri="ca283e0b-db31-4043-a2ef-b80661bf084a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21f97c46-7f89-4632-9b99-950325101dfe"/>
    <ds:schemaRef ds:uri="http://schemas.microsoft.com/office/2006/metadata/properties"/>
    <ds:schemaRef ds:uri="http://purl.org/dc/terms/"/>
    <ds:schemaRef ds:uri="380bcc00-27e3-4e98-84f3-503a56210dde"/>
    <ds:schemaRef ds:uri="http://schemas.microsoft.com/sharepoint.v3"/>
    <ds:schemaRef ds:uri="http://schemas.microsoft.com/sharepoint/v3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57FDDC6D-9F7A-4E2D-ADD7-A90F536BD12E}">
  <ds:schemaRefs>
    <ds:schemaRef ds:uri="21f97c46-7f89-4632-9b99-950325101dfe"/>
    <ds:schemaRef ds:uri="380bcc00-27e3-4e98-84f3-503a56210dde"/>
    <ds:schemaRef ds:uri="ca283e0b-db31-4043-a2ef-b80661bf084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.v3"/>
    <ds:schemaRef ds:uri="http://schemas.microsoft.com/sharepoint/v3"/>
    <ds:schemaRef ds:uri="http://schemas.microsoft.com/sharepoint/v4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20FA8D5-7271-46B3-B998-EC212EA5B2E1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A25EB350-ACB7-461B-A819-7B6C47452438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81D9778B-80AB-42AB-850C-1ECC14A297BF}">
  <ds:schemaRefs>
    <ds:schemaRef ds:uri="http://schemas.microsoft.com/office/2006/metadata/customXsn"/>
  </ds:schemaRefs>
</ds:datastoreItem>
</file>

<file path=customXml/itemProps6.xml><?xml version="1.0" encoding="utf-8"?>
<ds:datastoreItem xmlns:ds="http://schemas.openxmlformats.org/officeDocument/2006/customXml" ds:itemID="{7993D61D-115E-46C8-A834-D25F86213E44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NICEF</Template>
  <TotalTime>92</TotalTime>
  <Words>803</Words>
  <Application>Microsoft Office PowerPoint</Application>
  <PresentationFormat>Widescreen</PresentationFormat>
  <Paragraphs>104</Paragraphs>
  <Slides>23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33" baseType="lpstr">
      <vt:lpstr>Arial</vt:lpstr>
      <vt:lpstr>Calibri</vt:lpstr>
      <vt:lpstr>Calibri Light</vt:lpstr>
      <vt:lpstr>Univers LT Std 55 Roman</vt:lpstr>
      <vt:lpstr>Wingdings</vt:lpstr>
      <vt:lpstr>UNICEF</vt:lpstr>
      <vt:lpstr>Office Theme</vt:lpstr>
      <vt:lpstr>1_UNICEF</vt:lpstr>
      <vt:lpstr>think-cell Slide</vt:lpstr>
      <vt:lpstr>Worksheet</vt:lpstr>
      <vt:lpstr>PowerPoint Presentation</vt:lpstr>
      <vt:lpstr>Outlin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I Vaccine Stock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PIERE Stephanie</dc:creator>
  <cp:lastModifiedBy>Celestin Traore</cp:lastModifiedBy>
  <cp:revision>2</cp:revision>
  <cp:lastPrinted>2019-09-30T20:37:29Z</cp:lastPrinted>
  <dcterms:created xsi:type="dcterms:W3CDTF">2019-08-13T21:11:44Z</dcterms:created>
  <dcterms:modified xsi:type="dcterms:W3CDTF">2024-09-09T11:4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BA85F8052A6DA4FA3E31FF9F74C697000E104A2283C832B43877ABEE24D60F242</vt:lpwstr>
  </property>
  <property fmtid="{D5CDD505-2E9C-101B-9397-08002B2CF9AE}" pid="3" name="TaxKeyword">
    <vt:lpwstr/>
  </property>
  <property fmtid="{D5CDD505-2E9C-101B-9397-08002B2CF9AE}" pid="4" name="OfficeDivision">
    <vt:lpwstr>397;#Division of Communication-456G|48d7ec51-1223-45a5-bbd8-01149395ec76</vt:lpwstr>
  </property>
  <property fmtid="{D5CDD505-2E9C-101B-9397-08002B2CF9AE}" pid="5" name="Topic">
    <vt:lpwstr>9;#n/a|62fe7219-0ec3-42ac-964d-70ae5d8291bb</vt:lpwstr>
  </property>
  <property fmtid="{D5CDD505-2E9C-101B-9397-08002B2CF9AE}" pid="6" name="DocumentType">
    <vt:lpwstr>396;#Visual design and branding guidelines|ed9661bd-7ccc-41d4-9af8-6abfbfed620c</vt:lpwstr>
  </property>
  <property fmtid="{D5CDD505-2E9C-101B-9397-08002B2CF9AE}" pid="7" name="GeographicScope">
    <vt:lpwstr/>
  </property>
  <property fmtid="{D5CDD505-2E9C-101B-9397-08002B2CF9AE}" pid="8" name="SystemDTAC">
    <vt:lpwstr/>
  </property>
  <property fmtid="{D5CDD505-2E9C-101B-9397-08002B2CF9AE}" pid="9" name="CriticalForLongTermRetention">
    <vt:lpwstr/>
  </property>
  <property fmtid="{D5CDD505-2E9C-101B-9397-08002B2CF9AE}" pid="10" name="_dlc_DocIdItemGuid">
    <vt:lpwstr>b2fb11e1-7c05-4f08-a4dc-cb9f2852df24</vt:lpwstr>
  </property>
  <property fmtid="{D5CDD505-2E9C-101B-9397-08002B2CF9AE}" pid="11" name="MediaServiceImageTags">
    <vt:lpwstr/>
  </property>
</Properties>
</file>